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 ?><Relationships xmlns="http://schemas.openxmlformats.org/package/2006/relationships"><Relationship Id="rId1" Type="http://schemas.openxmlformats.org/officeDocument/2006/relationships/officeDocument" Target="ppt/presentation.xml"  /><Relationship Id="rId2" Type="http://schemas.openxmlformats.org/package/2006/relationships/metadata/thumbnail" Target="docProps/thumbnail.jpeg"  /><Relationship Id="rId3" Type="http://schemas.openxmlformats.org/package/2006/relationships/metadata/core-properties" Target="docProps/core.xml"  /><Relationship Id="rId4" Type="http://schemas.openxmlformats.org/officeDocument/2006/relationships/extended-properties" Target="docProps/app.xml"  /></Relationships>
</file>

<file path=ppt/presentation.xml><?xml version="1.0" encoding="utf-8"?>
<p:presentation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removePersonalInfoOnSave="1">
  <p:sldMasterIdLst>
    <p:sldMasterId id="2147483662" r:id="rId1"/>
  </p:sldMasterIdLst>
  <p:notesMasterIdLst>
    <p:notesMasterId r:id="rId2"/>
  </p:notesMasterIdLst>
  <p:handoutMasterIdLst>
    <p:handoutMasterId r:id="rId3"/>
  </p:handout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showPr showNarration="1" useTimings="0">
    <p:present/>
    <p:sldAll/>
    <p:penClr>
      <a:prstClr val="red"/>
    </p:penClr>
    <p:extLst>
      <p:ext uri="{2FDB2607-1784-4EEB-B798-7EB5836EED8A}">
        <p14:showMediaCtrls xmlns:p14="http://schemas.microsoft.com/office/powerpoint/2010/main" val="0"/>
      </p:ext>
    </p:extLst>
  </p:showPr>
  <p:extLst>
    <p:ext uri="ACF4677E-8BD2-47ae-8A1F-98590045965D">
      <hp:hncThemeShow xmlns:hp="http://schemas.haansoft.com/office/presentation/8.0" themeShowType="1" themeSkinType="1" themeTransitionType="1" useThemeTransition="1" byMouseClick="1" attrType="1" dur="2000"/>
    </p:ext>
  </p:extLst>
</p:presentationPr>
</file>

<file path=ppt/tableStyles.xml><?xml version="1.0" encoding="utf-8"?>
<a:tblStyleLst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def="{5C22544A-7EE6-4342-B048-85BDC9FD1C3A}">
  <a:tblStyle styleId="{01A66EDD-3DAB-4C5B-A090-DC80EC1FD486}" styleName="Normal Style 1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lum val="9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lum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lum val="8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normalViewPr>
    <p:restoredLeft sz="15000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714" y="108"/>
      </p:cViewPr>
      <p:guideLst>
        <p:guide orient="horz" pos="2149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84"/>
      </p:cViewPr>
    </p:cSldViewPr>
  </p:notesViewPr>
  <p:gridSpacing cx="72008" cy="72008"/>
</p:viewPr>
</file>

<file path=ppt/_rels/presentation.xml.rels><?xml version="1.0" encoding="UTF-8" standalone="yes" ?><Relationships xmlns="http://schemas.openxmlformats.org/package/2006/relationships"><Relationship Id="rId1" Type="http://schemas.openxmlformats.org/officeDocument/2006/relationships/slideMaster" Target="slideMasters/slideMaster1.xml"  /><Relationship Id="rId10" Type="http://schemas.openxmlformats.org/officeDocument/2006/relationships/slide" Target="slides/slide7.xml"  /><Relationship Id="rId11" Type="http://schemas.openxmlformats.org/officeDocument/2006/relationships/slide" Target="slides/slide8.xml"  /><Relationship Id="rId12" Type="http://schemas.openxmlformats.org/officeDocument/2006/relationships/slide" Target="slides/slide9.xml"  /><Relationship Id="rId13" Type="http://schemas.openxmlformats.org/officeDocument/2006/relationships/slide" Target="slides/slide10.xml"  /><Relationship Id="rId14" Type="http://schemas.openxmlformats.org/officeDocument/2006/relationships/slide" Target="slides/slide11.xml"  /><Relationship Id="rId15" Type="http://schemas.openxmlformats.org/officeDocument/2006/relationships/slide" Target="slides/slide12.xml"  /><Relationship Id="rId16" Type="http://schemas.openxmlformats.org/officeDocument/2006/relationships/presProps" Target="presProps.xml"  /><Relationship Id="rId17" Type="http://schemas.openxmlformats.org/officeDocument/2006/relationships/viewProps" Target="viewProps.xml"  /><Relationship Id="rId18" Type="http://schemas.openxmlformats.org/officeDocument/2006/relationships/theme" Target="theme/theme1.xml"  /><Relationship Id="rId19" Type="http://schemas.openxmlformats.org/officeDocument/2006/relationships/tableStyles" Target="tableStyles.xml"  /><Relationship Id="rId2" Type="http://schemas.openxmlformats.org/officeDocument/2006/relationships/notesMaster" Target="notesMasters/notesMaster1.xml"  /><Relationship Id="rId3" Type="http://schemas.openxmlformats.org/officeDocument/2006/relationships/handoutMaster" Target="handoutMasters/handoutMaster1.xml"  /><Relationship Id="rId4" Type="http://schemas.openxmlformats.org/officeDocument/2006/relationships/slide" Target="slides/slide1.xml"  /><Relationship Id="rId5" Type="http://schemas.openxmlformats.org/officeDocument/2006/relationships/slide" Target="slides/slide2.xml"  /><Relationship Id="rId6" Type="http://schemas.openxmlformats.org/officeDocument/2006/relationships/slide" Target="slides/slide3.xml"  /><Relationship Id="rId7" Type="http://schemas.openxmlformats.org/officeDocument/2006/relationships/slide" Target="slides/slide4.xml"  /><Relationship Id="rId8" Type="http://schemas.openxmlformats.org/officeDocument/2006/relationships/slide" Target="slides/slide5.xml"  /><Relationship Id="rId9" Type="http://schemas.openxmlformats.org/officeDocument/2006/relationships/slide" Target="slides/slide6.xml"  /></Relationships>
</file>

<file path=ppt/handoutMasters/_rels/handout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3.xml"  /></Relationships>
</file>

<file path=ppt/handoutMasters/handoutMaster1.xml><?xml version="1.0" encoding="utf-8"?>
<p:handout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/>
            </a:pPr>
            <a:fld id="{7AF8F47D-68E2-4936-A38E-54FB854BB8BB}" type="datetime1">
              <a:rPr lang="ko-KR" altLang="en-US"/>
              <a:pPr lvl="0">
                <a:defRPr/>
              </a:pPr>
              <a:t>2022-04-1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/>
            </a:pPr>
            <a:fld id="{AF7DBDC2-A09D-4B8B-B2C7-CFF0B25B5FE7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2.xml"  /></Relationships>
</file>

<file path=ppt/notesMasters/notesMaster1.xml><?xml version="1.0" encoding="utf-8"?>
<p:notes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/>
            </a:pPr>
            <a:fld id="{8E4E1F3B-086A-4ED2-8A2E-9B1768BF8CCB}" type="datetime1">
              <a:rPr lang="en-US"/>
              <a:pPr lvl="0">
                <a:defRPr/>
              </a:pPr>
              <a:t>4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/>
          <a:lstStyle/>
          <a:p>
            <a:pPr lvl="0">
              <a:defRPr/>
            </a:pPr>
            <a:r>
              <a:rPr lang="en-US"/>
              <a:t>Click to edit Master text styles</a:t>
            </a:r>
            <a:endParaRPr lang="en-US"/>
          </a:p>
          <a:p>
            <a:pPr lvl="1">
              <a:defRPr/>
            </a:pPr>
            <a:r>
              <a:rPr lang="en-US"/>
              <a:t>Second level</a:t>
            </a:r>
            <a:endParaRPr lang="en-US"/>
          </a:p>
          <a:p>
            <a:pPr lvl="2">
              <a:defRPr/>
            </a:pPr>
            <a:r>
              <a:rPr lang="en-US"/>
              <a:t>Third level</a:t>
            </a:r>
            <a:endParaRPr lang="en-US"/>
          </a:p>
          <a:p>
            <a:pPr lvl="3">
              <a:defRPr/>
            </a:pPr>
            <a:r>
              <a:rPr lang="en-US"/>
              <a:t>Fourth level</a:t>
            </a:r>
            <a:endParaRPr lang="en-US"/>
          </a:p>
          <a:p>
            <a:pPr lvl="4">
              <a:defRPr/>
            </a:pPr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1" Type="http://schemas.openxmlformats.org/officeDocument/2006/relationships/slide" Target="../slides/slide1.xml"  /><Relationship Id="rId2" Type="http://schemas.openxmlformats.org/officeDocument/2006/relationships/notesMaster" Target="../notesMasters/notesMaster1.xml"  /></Relationships>
</file>

<file path=ppt/notesSlides/_rels/notesSlide10.xml.rels><?xml version="1.0" encoding="UTF-8" standalone="yes" ?><Relationships xmlns="http://schemas.openxmlformats.org/package/2006/relationships"><Relationship Id="rId1" Type="http://schemas.openxmlformats.org/officeDocument/2006/relationships/slide" Target="../slides/slide10.xml"  /><Relationship Id="rId2" Type="http://schemas.openxmlformats.org/officeDocument/2006/relationships/notesMaster" Target="../notesMasters/notesMaster1.xml"  /></Relationships>
</file>

<file path=ppt/notesSlides/_rels/notesSlide11.xml.rels><?xml version="1.0" encoding="UTF-8" standalone="yes" ?><Relationships xmlns="http://schemas.openxmlformats.org/package/2006/relationships"><Relationship Id="rId1" Type="http://schemas.openxmlformats.org/officeDocument/2006/relationships/slide" Target="../slides/slide11.xml"  /><Relationship Id="rId2" Type="http://schemas.openxmlformats.org/officeDocument/2006/relationships/notesMaster" Target="../notesMasters/notesMaster1.xml"  /></Relationships>
</file>

<file path=ppt/notesSlides/_rels/notesSlide12.xml.rels><?xml version="1.0" encoding="UTF-8" standalone="yes" ?><Relationships xmlns="http://schemas.openxmlformats.org/package/2006/relationships"><Relationship Id="rId1" Type="http://schemas.openxmlformats.org/officeDocument/2006/relationships/slide" Target="../slides/slide12.xml"  /><Relationship Id="rId2" Type="http://schemas.openxmlformats.org/officeDocument/2006/relationships/notesMaster" Target="../notesMasters/notesMaster1.xml"  /></Relationships>
</file>

<file path=ppt/notesSlides/_rels/notesSlide2.xml.rels><?xml version="1.0" encoding="UTF-8" standalone="yes" ?><Relationships xmlns="http://schemas.openxmlformats.org/package/2006/relationships"><Relationship Id="rId1" Type="http://schemas.openxmlformats.org/officeDocument/2006/relationships/slide" Target="../slides/slide2.xml"  /><Relationship Id="rId2" Type="http://schemas.openxmlformats.org/officeDocument/2006/relationships/notesMaster" Target="../notesMasters/notesMaster1.xml"  /></Relationships>
</file>

<file path=ppt/notesSlides/_rels/notesSlide3.xml.rels><?xml version="1.0" encoding="UTF-8" standalone="yes" ?><Relationships xmlns="http://schemas.openxmlformats.org/package/2006/relationships"><Relationship Id="rId1" Type="http://schemas.openxmlformats.org/officeDocument/2006/relationships/slide" Target="../slides/slide3.xml"  /><Relationship Id="rId2" Type="http://schemas.openxmlformats.org/officeDocument/2006/relationships/notesMaster" Target="../notesMasters/notesMaster1.xml"  /></Relationships>
</file>

<file path=ppt/notesSlides/_rels/notesSlide4.xml.rels><?xml version="1.0" encoding="UTF-8" standalone="yes" ?><Relationships xmlns="http://schemas.openxmlformats.org/package/2006/relationships"><Relationship Id="rId1" Type="http://schemas.openxmlformats.org/officeDocument/2006/relationships/slide" Target="../slides/slide4.xml"  /><Relationship Id="rId2" Type="http://schemas.openxmlformats.org/officeDocument/2006/relationships/notesMaster" Target="../notesMasters/notesMaster1.xml"  /></Relationships>
</file>

<file path=ppt/notesSlides/_rels/notesSlide5.xml.rels><?xml version="1.0" encoding="UTF-8" standalone="yes" ?><Relationships xmlns="http://schemas.openxmlformats.org/package/2006/relationships"><Relationship Id="rId1" Type="http://schemas.openxmlformats.org/officeDocument/2006/relationships/slide" Target="../slides/slide5.xml"  /><Relationship Id="rId2" Type="http://schemas.openxmlformats.org/officeDocument/2006/relationships/notesMaster" Target="../notesMasters/notesMaster1.xml"  /></Relationships>
</file>

<file path=ppt/notesSlides/_rels/notesSlide6.xml.rels><?xml version="1.0" encoding="UTF-8" standalone="yes" ?><Relationships xmlns="http://schemas.openxmlformats.org/package/2006/relationships"><Relationship Id="rId1" Type="http://schemas.openxmlformats.org/officeDocument/2006/relationships/slide" Target="../slides/slide6.xml"  /><Relationship Id="rId2" Type="http://schemas.openxmlformats.org/officeDocument/2006/relationships/notesMaster" Target="../notesMasters/notesMaster1.xml"  /></Relationships>
</file>

<file path=ppt/notesSlides/_rels/notesSlide7.xml.rels><?xml version="1.0" encoding="UTF-8" standalone="yes" ?><Relationships xmlns="http://schemas.openxmlformats.org/package/2006/relationships"><Relationship Id="rId1" Type="http://schemas.openxmlformats.org/officeDocument/2006/relationships/slide" Target="../slides/slide7.xml"  /><Relationship Id="rId2" Type="http://schemas.openxmlformats.org/officeDocument/2006/relationships/notesMaster" Target="../notesMasters/notesMaster1.xml"  /></Relationships>
</file>

<file path=ppt/notesSlides/_rels/notesSlide8.xml.rels><?xml version="1.0" encoding="UTF-8" standalone="yes" ?><Relationships xmlns="http://schemas.openxmlformats.org/package/2006/relationships"><Relationship Id="rId1" Type="http://schemas.openxmlformats.org/officeDocument/2006/relationships/slide" Target="../slides/slide8.xml"  /><Relationship Id="rId2" Type="http://schemas.openxmlformats.org/officeDocument/2006/relationships/notesMaster" Target="../notesMasters/notesMaster1.xml"  /></Relationships>
</file>

<file path=ppt/notesSlides/_rels/notesSlide9.xml.rels><?xml version="1.0" encoding="UTF-8" standalone="yes" ?><Relationships xmlns="http://schemas.openxmlformats.org/package/2006/relationships"><Relationship Id="rId1" Type="http://schemas.openxmlformats.org/officeDocument/2006/relationships/slide" Target="../slides/slide9.xml"  /><Relationship Id="rId2" Type="http://schemas.openxmlformats.org/officeDocument/2006/relationships/notesMaster" Target="../notesMasters/notesMaster1.xml"  /></Relationships>
</file>

<file path=ppt/notesSlides/notesSlide1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D460CBE7-02BB-4549-B5A3-EA15828C4C6B}" type="slidenum">
              <a:rPr lang="en-US"/>
              <a:pPr lvl="0"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4C230-9F0E-4047-B54C-90684F31DE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9168A5-4783-4D44-B120-4A747F483B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D7F836-373C-4C85-89D5-F0835448DF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708E90-DC47-462E-954B-3C420ADB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6E1ED-A638-424A-A6F4-186658CCC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91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F63E4C-0B3E-4D46-AC8C-7ED47968B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A3292E-078E-4D23-AD00-906DCAA430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1B3EAE-FFE5-44DB-893E-909CB19007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B7647E-FF40-4C5E-AE8C-DFB09CE6C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5E95D5-C64E-4920-BAA3-A17BD4B9A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929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DB55A74-B5D6-4726-904F-5953C831D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2164A7-8438-4304-B680-088BECB19E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1BC1F6-B347-4AF9-99D2-5AB17B2BE5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C3453F-C0EB-49D7-AFA8-73EDAC804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FF9971-B093-46D6-A23F-2A7AD2DB3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637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DB949-DAB6-4EA7-8555-DC4D4C3A2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1DF3B2-4169-41ED-BF22-35F09C3D08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842346-1652-4E13-A43A-1CE1454DE7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751623-D3DF-415F-A41F-EEEEE788A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6F5F17-FDE3-40B7-B761-D60181ECC7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781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133-A957-4331-8521-FDA208F3D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FD4D8D-1332-4B39-923F-E245A3FEB5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B98865-CFAD-495D-9203-2467CC4EFD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6A19B4-78B5-4FAF-AB24-747A53913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22E86C-2797-46B9-8C5D-EA8A9DCFE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794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FA72C-9784-49EC-AACC-64696085F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148327-AE9B-494A-9F5C-FBC55E4433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4B33D0-6A3E-4AFA-849E-F23EAE0984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67011A-A5A8-418E-ACA1-D496D7DFC0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76D8B8-AFEE-4209-8BBA-31CA7D93B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885A99-294C-46B9-BC8F-1D8A7BBEF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896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8CBD05-39A8-425E-A2E6-6D0A2F5ED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926E3-2E76-4BF2-A5A8-AF39AF328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993A61-3FEA-4EAA-8DAC-9E796AF6BA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B0ABC5-437C-41F3-8C13-C09D70E9D3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9C6E23-F923-4675-A3B0-2FD776A781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BC22A2-65EC-4487-9ACB-98FD46FE93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517891-6F10-431A-9C6E-582A8672D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C90322-FEFF-40E1-8679-CAA7EB8DB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7153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4BDC9-3F2A-4306-8DC9-E5D76756A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13F567-47A2-4308-8BDC-3C0D90439C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362023-9F34-4F76-A28D-48DAA3F113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54B103-D7FF-4219-88B7-783289FB3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30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F15CA7-8667-4518-B498-FA789BC5A1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ADACB0-D363-41C9-B2F1-B203EED67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D72AD0-A8FF-4267-B2FB-10153A1FE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426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22FE8-A5A7-47FE-A0DD-6DCF452C8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1E854-37D1-4EA2-B0C6-9E95569201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8F3D27-E264-4775-9BAD-9E979B9276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714CB1-A1A2-4480-BB05-400C7F4409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981657-7D86-42EF-B40A-7088720FAE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B3A108-B1FD-4213-9BC6-E970CBF3B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862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1960F9-09DA-46AB-B702-3A138908C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E000331-4A4A-4879-8EFB-93F2AF559E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746ABD-11C2-453A-9DA9-DDDC3178D4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0C2C6A-5B21-4615-AEB3-EBD762EE2A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145F04-81AF-4E26-B445-B6B0BE373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233256-40CC-4F86-9245-6C9AF895F0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993716"/>
      </p:ext>
    </p:extLst>
  </p:cSld>
  <p:clrMapOvr>
    <a:masterClrMapping/>
  </p:clrMapOvr>
</p:sldLayout>
</file>

<file path=ppt/slideMasters/_rels/slideMaster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10" Type="http://schemas.openxmlformats.org/officeDocument/2006/relationships/slideLayout" Target="../slideLayouts/slideLayout10.xml"  /><Relationship Id="rId11" Type="http://schemas.openxmlformats.org/officeDocument/2006/relationships/slideLayout" Target="../slideLayouts/slideLayout11.xml"  /><Relationship Id="rId12" Type="http://schemas.openxmlformats.org/officeDocument/2006/relationships/theme" Target="../theme/theme1.xml"  /><Relationship Id="rId13" Type="http://schemas.openxmlformats.org/officeDocument/2006/relationships/tags" Target="../tags/tag1.xml"  /><Relationship Id="rId14" Type="http://schemas.openxmlformats.org/officeDocument/2006/relationships/oleObject" Target="../embeddings/oleObject1.bin"  /><Relationship Id="rId15" Type="http://schemas.openxmlformats.org/officeDocument/2006/relationships/image" Target="../media/image1.emf"  /><Relationship Id="rId2" Type="http://schemas.openxmlformats.org/officeDocument/2006/relationships/slideLayout" Target="../slideLayouts/slideLayout2.xml"  /><Relationship Id="rId3" Type="http://schemas.openxmlformats.org/officeDocument/2006/relationships/slideLayout" Target="../slideLayouts/slideLayout3.xml"  /><Relationship Id="rId4" Type="http://schemas.openxmlformats.org/officeDocument/2006/relationships/slideLayout" Target="../slideLayouts/slideLayout4.xml"  /><Relationship Id="rId5" Type="http://schemas.openxmlformats.org/officeDocument/2006/relationships/slideLayout" Target="../slideLayouts/slideLayout5.xml"  /><Relationship Id="rId6" Type="http://schemas.openxmlformats.org/officeDocument/2006/relationships/slideLayout" Target="../slideLayouts/slideLayout6.xml"  /><Relationship Id="rId7" Type="http://schemas.openxmlformats.org/officeDocument/2006/relationships/slideLayout" Target="../slideLayouts/slideLayout7.xml"  /><Relationship Id="rId8" Type="http://schemas.openxmlformats.org/officeDocument/2006/relationships/slideLayout" Target="../slideLayouts/slideLayout8.xml"  /><Relationship Id="rId9" Type="http://schemas.openxmlformats.org/officeDocument/2006/relationships/slideLayout" Target="../slideLayouts/slideLayout9.xml" 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416FD4-7DC9-4237-9066-D4B8CC1F47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62952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8317B4-B5C9-4552-9728-3FBB98F17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65125"/>
            <a:ext cx="1104900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7F09D0-6064-4A5F-A259-F28A1CC598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473200"/>
            <a:ext cx="11049000" cy="4703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B80C6-8713-4196-9062-E91944860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100" y="6356350"/>
            <a:ext cx="40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45BDEA-6D85-4AE1-97FC-A518965D88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485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7336" userDrawn="1">
          <p15:clr>
            <a:srgbClr val="F26B43"/>
          </p15:clr>
        </p15:guide>
        <p15:guide id="3" pos="344" userDrawn="1">
          <p15:clr>
            <a:srgbClr val="F26B43"/>
          </p15:clr>
        </p15:guide>
        <p15:guide id="4" orient="horz" pos="39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.xml"  /><Relationship Id="rId2" Type="http://schemas.openxmlformats.org/officeDocument/2006/relationships/slideLayout" Target="../slideLayouts/slideLayout1.xml"  /></Relationships>
</file>

<file path=ppt/slides/_rels/slide10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0.xml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17.jpeg"  /><Relationship Id="rId4" Type="http://schemas.openxmlformats.org/officeDocument/2006/relationships/image" Target="../media/image18.jpeg"  /><Relationship Id="rId5" Type="http://schemas.openxmlformats.org/officeDocument/2006/relationships/image" Target="../media/image19.jpeg"  /></Relationships>
</file>

<file path=ppt/slides/_rels/slide11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1.xml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20.png"  /></Relationships>
</file>

<file path=ppt/slides/_rels/slide12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2.xml"  /><Relationship Id="rId2" Type="http://schemas.openxmlformats.org/officeDocument/2006/relationships/slideLayout" Target="../slideLayouts/slideLayout2.xml"  /></Relationships>
</file>

<file path=ppt/slides/_rels/slide2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2.xml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2.png"  /><Relationship Id="rId4" Type="http://schemas.openxmlformats.org/officeDocument/2006/relationships/image" Target="../media/image3.jpeg"  /></Relationships>
</file>

<file path=ppt/slides/_rels/slide3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3.xml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4.png"  /><Relationship Id="rId4" Type="http://schemas.openxmlformats.org/officeDocument/2006/relationships/image" Target="../media/image5.png"  /><Relationship Id="rId5" Type="http://schemas.openxmlformats.org/officeDocument/2006/relationships/image" Target="../media/image6.jpeg"  /></Relationships>
</file>

<file path=ppt/slides/_rels/slide4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4.xml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7.jpeg"  /><Relationship Id="rId4" Type="http://schemas.openxmlformats.org/officeDocument/2006/relationships/image" Target="../media/image7.jpeg"  /><Relationship Id="rId5" Type="http://schemas.openxmlformats.org/officeDocument/2006/relationships/image" Target="../media/image7.jpeg"  /></Relationships>
</file>

<file path=ppt/slides/_rels/slide5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5.xml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8.png"  /></Relationships>
</file>

<file path=ppt/slides/_rels/slide6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6.xml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9.jpeg"  /><Relationship Id="rId4" Type="http://schemas.openxmlformats.org/officeDocument/2006/relationships/image" Target="../media/image10.png"  /><Relationship Id="rId5" Type="http://schemas.openxmlformats.org/officeDocument/2006/relationships/image" Target="../media/image11.png"  /></Relationships>
</file>

<file path=ppt/slides/_rels/slide7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7.xml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12.png"  /></Relationships>
</file>

<file path=ppt/slides/_rels/slide8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8.xml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13.png"  /><Relationship Id="rId4" Type="http://schemas.openxmlformats.org/officeDocument/2006/relationships/image" Target="../media/image8.png"  /></Relationships>
</file>

<file path=ppt/slides/_rels/slide9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9.xml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14.jpeg"  /><Relationship Id="rId4" Type="http://schemas.openxmlformats.org/officeDocument/2006/relationships/image" Target="../media/image15.jpeg"  /><Relationship Id="rId5" Type="http://schemas.openxmlformats.org/officeDocument/2006/relationships/image" Target="../media/image16.jpeg"  /></Relationships>
</file>

<file path=ppt/slides/slide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0"/>
          </p:nvPr>
        </p:nvSpPr>
        <p:spPr>
          <a:xfrm>
            <a:off x="940652" y="297479"/>
            <a:ext cx="8307258" cy="2987779"/>
          </a:xfrm>
        </p:spPr>
        <p:txBody>
          <a:bodyPr vert="horz" lIns="0" tIns="0" rIns="0" bIns="0">
            <a:no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ko-KR" altLang="en-US" sz="5500"/>
              <a:t>안정적인 착륙을 위한 </a:t>
            </a:r>
            <a:br>
              <a:rPr lang="ko-KR" altLang="en-US" sz="5500"/>
            </a:br>
            <a:r>
              <a:rPr lang="ko-KR" altLang="en-US" sz="5500"/>
              <a:t>드론 랜딩 기어</a:t>
            </a:r>
            <a:endParaRPr lang="ko-KR" altLang="en-US" sz="5500"/>
          </a:p>
        </p:txBody>
      </p:sp>
      <p:sp>
        <p:nvSpPr>
          <p:cNvPr id="399" name="Freeform: Shape 398"/>
          <p:cNvSpPr/>
          <p:nvPr/>
        </p:nvSpPr>
        <p:spPr>
          <a:xfrm rot="2576334">
            <a:off x="-171194" y="-597797"/>
            <a:ext cx="998261" cy="1928857"/>
          </a:xfrm>
          <a:custGeom>
            <a:avLst/>
            <a:gdLst>
              <a:gd name="connsiteX0" fmla="*/ 0 w 998261"/>
              <a:gd name="connsiteY0" fmla="*/ 928070 h 1928857"/>
              <a:gd name="connsiteX1" fmla="*/ 997363 w 998261"/>
              <a:gd name="connsiteY1" fmla="*/ 0 h 1928857"/>
              <a:gd name="connsiteX2" fmla="*/ 998261 w 998261"/>
              <a:gd name="connsiteY2" fmla="*/ 0 h 1928857"/>
              <a:gd name="connsiteX3" fmla="*/ 998261 w 998261"/>
              <a:gd name="connsiteY3" fmla="*/ 1928857 h 1928857"/>
              <a:gd name="connsiteX4" fmla="*/ 931255 w 998261"/>
              <a:gd name="connsiteY4" fmla="*/ 1928857 h 1928857"/>
            </a:gdLst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8261" h="1928857">
                <a:moveTo>
                  <a:pt x="0" y="928070"/>
                </a:moveTo>
                <a:lnTo>
                  <a:pt x="997363" y="0"/>
                </a:lnTo>
                <a:lnTo>
                  <a:pt x="998261" y="0"/>
                </a:lnTo>
                <a:lnTo>
                  <a:pt x="998261" y="1928857"/>
                </a:lnTo>
                <a:lnTo>
                  <a:pt x="931255" y="19288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400" name="Title 1"/>
          <p:cNvSpPr>
            <a:spLocks noGrp="1"/>
          </p:cNvSpPr>
          <p:nvPr/>
        </p:nvSpPr>
        <p:spPr>
          <a:xfrm>
            <a:off x="387452" y="4347218"/>
            <a:ext cx="2782758" cy="1966007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20162830</a:t>
            </a: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김홍연</a:t>
            </a:r>
            <a:endPara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20162832</a:t>
            </a: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문다훈</a:t>
            </a:r>
            <a:endPara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20162839</a:t>
            </a: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신영석</a:t>
            </a:r>
            <a:endPara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20162849</a:t>
            </a: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이준용</a:t>
            </a:r>
            <a:endPara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20162862</a:t>
            </a: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최승호</a:t>
            </a:r>
            <a:endPara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401" name=""/>
          <p:cNvSpPr/>
          <p:nvPr/>
        </p:nvSpPr>
        <p:spPr>
          <a:xfrm>
            <a:off x="8192654" y="0"/>
            <a:ext cx="8396430" cy="6858000"/>
          </a:xfrm>
          <a:prstGeom prst="trapezoid">
            <a:avLst>
              <a:gd name="adj" fmla="val 25000"/>
            </a:avLst>
          </a:prstGeom>
          <a:solidFill>
            <a:schemeClr val="accent6"/>
          </a:solidFill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ko-KR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0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Isosceles Triangle 499"/>
          <p:cNvSpPr/>
          <p:nvPr/>
        </p:nvSpPr>
        <p:spPr>
          <a:xfrm flipV="1">
            <a:off x="10257008" y="-4"/>
            <a:ext cx="1934991" cy="216353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99" name="Isosceles Triangle 498"/>
          <p:cNvSpPr/>
          <p:nvPr/>
        </p:nvSpPr>
        <p:spPr>
          <a:xfrm>
            <a:off x="7878851" y="2191146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09" name="Title 1"/>
          <p:cNvSpPr>
            <a:spLocks noGrp="1"/>
          </p:cNvSpPr>
          <p:nvPr/>
        </p:nvSpPr>
        <p:spPr>
          <a:xfrm>
            <a:off x="313704" y="5964739"/>
            <a:ext cx="11670971" cy="735864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 lnSpcReduction="10000"/>
          </a:bodyPr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원대 지형내 다양한 계단의 수치 측정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다양한 계단의 수치를 토대로 착륙가능한 최대계단 스펙 설정  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1" name="Title 1"/>
          <p:cNvSpPr>
            <a:spLocks noGrp="1"/>
          </p:cNvSpPr>
          <p:nvPr/>
        </p:nvSpPr>
        <p:spPr>
          <a:xfrm>
            <a:off x="333375" y="1095353"/>
            <a:ext cx="4965989" cy="389081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고려해야 할 변수 </a:t>
            </a:r>
            <a:r>
              <a:rPr xmlns:mc="http://schemas.openxmlformats.org/markup-compatibility/2006" xmlns:hp="http://schemas.haansoft.com/office/presentation/8.0" kumimoji="0" lang="en-US" altLang="ko-KR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착륙가능한 계단 높이</a:t>
            </a:r>
            <a:endPara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pic>
        <p:nvPicPr>
          <p:cNvPr id="526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4579723" y="1415877"/>
            <a:ext cx="3341474" cy="2739081"/>
          </a:xfrm>
          <a:prstGeom prst="rect">
            <a:avLst/>
          </a:prstGeom>
        </p:spPr>
      </p:pic>
      <p:pic>
        <p:nvPicPr>
          <p:cNvPr id="527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151886" y="1454493"/>
            <a:ext cx="3316643" cy="2672483"/>
          </a:xfrm>
          <a:prstGeom prst="rect">
            <a:avLst/>
          </a:prstGeom>
        </p:spPr>
      </p:pic>
      <p:sp>
        <p:nvSpPr>
          <p:cNvPr id="528" name="Title 1"/>
          <p:cNvSpPr>
            <a:spLocks noGrp="1"/>
          </p:cNvSpPr>
          <p:nvPr/>
        </p:nvSpPr>
        <p:spPr>
          <a:xfrm>
            <a:off x="596475" y="4163873"/>
            <a:ext cx="2591203" cy="1747636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 lnSpcReduction="10000"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대운동장 계단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가로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36.1 cm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세로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13.9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cm</a:t>
            </a:r>
            <a:endPara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경사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21.1 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도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9" name="Title 1"/>
          <p:cNvSpPr>
            <a:spLocks noGrp="1"/>
          </p:cNvSpPr>
          <p:nvPr/>
        </p:nvSpPr>
        <p:spPr>
          <a:xfrm>
            <a:off x="4800398" y="4167128"/>
            <a:ext cx="2591203" cy="1737283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 lnSpcReduction="10000"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대운동장 계단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가로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30.6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cm</a:t>
            </a:r>
            <a:endPara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세로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14.3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cm</a:t>
            </a:r>
            <a:endPara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경사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25 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도 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30" name="Title 1"/>
          <p:cNvSpPr>
            <a:spLocks noGrp="1"/>
          </p:cNvSpPr>
          <p:nvPr/>
        </p:nvSpPr>
        <p:spPr>
          <a:xfrm>
            <a:off x="8810146" y="4247158"/>
            <a:ext cx="2591203" cy="1664809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 lnSpcReduction="10000"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공대 정문 계단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가로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34.6 cm</a:t>
            </a:r>
            <a:endPara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세로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15.5 cm</a:t>
            </a:r>
            <a:endPara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경사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24.1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도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pic>
        <p:nvPicPr>
          <p:cNvPr id="531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 rot="16200000" flipH="1" flipV="1">
            <a:off x="8758539" y="1094717"/>
            <a:ext cx="2819826" cy="3403906"/>
          </a:xfrm>
          <a:prstGeom prst="rect">
            <a:avLst/>
          </a:prstGeom>
        </p:spPr>
      </p:pic>
      <p:sp>
        <p:nvSpPr>
          <p:cNvPr id="532" name="Title 1"/>
          <p:cNvSpPr>
            <a:spLocks noGrp="1"/>
          </p:cNvSpPr>
          <p:nvPr/>
        </p:nvSpPr>
        <p:spPr>
          <a:xfrm>
            <a:off x="404813" y="360960"/>
            <a:ext cx="5691187" cy="930275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랜딩기어 스펙 설정</a:t>
            </a:r>
            <a:endPara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Isosceles Triangle 499"/>
          <p:cNvSpPr/>
          <p:nvPr/>
        </p:nvSpPr>
        <p:spPr>
          <a:xfrm flipV="1">
            <a:off x="10257008" y="-4"/>
            <a:ext cx="1934991" cy="216353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99" name="Isosceles Triangle 498"/>
          <p:cNvSpPr/>
          <p:nvPr/>
        </p:nvSpPr>
        <p:spPr>
          <a:xfrm>
            <a:off x="7878851" y="2191146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09" name="Title 1"/>
          <p:cNvSpPr>
            <a:spLocks noGrp="1"/>
          </p:cNvSpPr>
          <p:nvPr/>
        </p:nvSpPr>
        <p:spPr>
          <a:xfrm>
            <a:off x="5574820" y="1399941"/>
            <a:ext cx="6303695" cy="1269261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 </a:t>
            </a:r>
            <a:r>
              <a:rPr xmlns:mc="http://schemas.openxmlformats.org/markup-compatibility/2006" xmlns:hp="http://schemas.haansoft.com/office/presentation/8.0" kumimoji="0" lang="en-US" altLang="ko-KR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4</a:t>
            </a: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개 다리로 구성</a:t>
            </a: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 다리 끝부분에 압력센서</a:t>
            </a: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13" name="Title 1"/>
          <p:cNvSpPr>
            <a:spLocks noGrp="1"/>
          </p:cNvSpPr>
          <p:nvPr/>
        </p:nvSpPr>
        <p:spPr>
          <a:xfrm>
            <a:off x="180975" y="401759"/>
            <a:ext cx="6762750" cy="930275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유사 랜딩 기어 사례</a:t>
            </a:r>
            <a:endPara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pic>
        <p:nvPicPr>
          <p:cNvPr id="518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464107" y="1335325"/>
            <a:ext cx="4786188" cy="4007629"/>
          </a:xfrm>
          <a:prstGeom prst="rect">
            <a:avLst/>
          </a:prstGeom>
        </p:spPr>
      </p:pic>
      <p:sp>
        <p:nvSpPr>
          <p:cNvPr id="519" name="Title 1"/>
          <p:cNvSpPr>
            <a:spLocks noGrp="1"/>
          </p:cNvSpPr>
          <p:nvPr/>
        </p:nvSpPr>
        <p:spPr>
          <a:xfrm>
            <a:off x="1064602" y="5815207"/>
            <a:ext cx="3547804" cy="694764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500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아마존 드론</a:t>
            </a:r>
            <a:endParaRPr xmlns:mc="http://schemas.openxmlformats.org/markup-compatibility/2006" xmlns:hp="http://schemas.haansoft.com/office/presentation/8.0" kumimoji="0" lang="ko-KR" altLang="en-US" sz="2500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0" name="Title 1"/>
          <p:cNvSpPr>
            <a:spLocks noGrp="1"/>
          </p:cNvSpPr>
          <p:nvPr/>
        </p:nvSpPr>
        <p:spPr>
          <a:xfrm>
            <a:off x="5600144" y="3429000"/>
            <a:ext cx="6345844" cy="2719658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 다리길이 조정하는 시기에서 차이점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 무게가 무거움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 발끝에 마찰계수가 높은 물질 부착가능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 착륙시간단축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호버링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Isosceles Triangle 499"/>
          <p:cNvSpPr/>
          <p:nvPr/>
        </p:nvSpPr>
        <p:spPr>
          <a:xfrm flipV="1">
            <a:off x="10257008" y="-4"/>
            <a:ext cx="1934991" cy="216353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99" name="Isosceles Triangle 498"/>
          <p:cNvSpPr/>
          <p:nvPr/>
        </p:nvSpPr>
        <p:spPr>
          <a:xfrm>
            <a:off x="7878851" y="2191146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09" name="Title 1"/>
          <p:cNvSpPr>
            <a:spLocks noGrp="1"/>
          </p:cNvSpPr>
          <p:nvPr/>
        </p:nvSpPr>
        <p:spPr>
          <a:xfrm>
            <a:off x="516233" y="1654837"/>
            <a:ext cx="11159532" cy="4019454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 lnSpcReduction="10000"/>
          </a:bodyPr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땅이 고르지 못한 지형에 이착륙가능 </a:t>
            </a: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착륙할 지면에 눈</a:t>
            </a:r>
            <a:r>
              <a:rPr xmlns:mc="http://schemas.openxmlformats.org/markup-compatibility/2006" xmlns:hp="http://schemas.haansoft.com/office/presentation/8.0" kumimoji="0" lang="en-US" altLang="ko-KR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비가 있을시에도 안정적인 착륙가능</a:t>
            </a: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흔들거리는 배 상황에서 착륙후 </a:t>
            </a:r>
            <a:r>
              <a:rPr xmlns:mc="http://schemas.openxmlformats.org/markup-compatibility/2006" xmlns:hp="http://schemas.haansoft.com/office/presentation/8.0" kumimoji="0" lang="en-US" altLang="ko-KR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PID</a:t>
            </a: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제어를 이용해 지속적인 다리길이 조정으로 활용가능</a:t>
            </a: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13" name="Title 1"/>
          <p:cNvSpPr>
            <a:spLocks noGrp="1"/>
          </p:cNvSpPr>
          <p:nvPr/>
        </p:nvSpPr>
        <p:spPr>
          <a:xfrm>
            <a:off x="180975" y="401759"/>
            <a:ext cx="6762750" cy="930275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활용가능성</a:t>
            </a:r>
            <a:endPara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Isosceles Triangle 499"/>
          <p:cNvSpPr/>
          <p:nvPr/>
        </p:nvSpPr>
        <p:spPr>
          <a:xfrm flipV="1">
            <a:off x="10257008" y="-4"/>
            <a:ext cx="1934991" cy="216353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99" name="Isosceles Triangle 498"/>
          <p:cNvSpPr/>
          <p:nvPr/>
        </p:nvSpPr>
        <p:spPr>
          <a:xfrm>
            <a:off x="7878851" y="2191146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idx="0"/>
          </p:nvPr>
        </p:nvSpPr>
        <p:spPr>
          <a:xfrm>
            <a:off x="-501161" y="392968"/>
            <a:ext cx="9253904" cy="930275"/>
          </a:xfrm>
        </p:spPr>
        <p:txBody>
          <a:bodyPr vert="horz"/>
          <a:lstStyle/>
          <a:p>
            <a:pPr lvl="0" algn="ctr">
              <a:defRPr/>
            </a:pPr>
            <a:r>
              <a:rPr lang="ko-KR" altLang="en-US"/>
              <a:t>드론 랜딩 기어의 필요성</a:t>
            </a:r>
            <a:endParaRPr lang="ko-KR" altLang="en-US"/>
          </a:p>
        </p:txBody>
      </p:sp>
      <p:pic>
        <p:nvPicPr>
          <p:cNvPr id="506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497170" y="2095923"/>
            <a:ext cx="4457744" cy="3183646"/>
          </a:xfrm>
          <a:prstGeom prst="rect">
            <a:avLst/>
          </a:prstGeom>
        </p:spPr>
      </p:pic>
      <p:sp>
        <p:nvSpPr>
          <p:cNvPr id="507" name="Title 1"/>
          <p:cNvSpPr>
            <a:spLocks noGrp="1"/>
          </p:cNvSpPr>
          <p:nvPr/>
        </p:nvSpPr>
        <p:spPr>
          <a:xfrm>
            <a:off x="6096000" y="1427839"/>
            <a:ext cx="5018064" cy="1749092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드론의 랜딩기어는 본체와 고정되어있어 평지외에 지면에서는 착륙이 불가능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pic>
        <p:nvPicPr>
          <p:cNvPr id="508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6096000" y="3316339"/>
            <a:ext cx="4567770" cy="3429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3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Isosceles Triangle 499"/>
          <p:cNvSpPr/>
          <p:nvPr/>
        </p:nvSpPr>
        <p:spPr>
          <a:xfrm flipV="1">
            <a:off x="10257008" y="-4"/>
            <a:ext cx="1934991" cy="216353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99" name="Isosceles Triangle 498"/>
          <p:cNvSpPr/>
          <p:nvPr/>
        </p:nvSpPr>
        <p:spPr>
          <a:xfrm>
            <a:off x="7878851" y="2191146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idx="0"/>
          </p:nvPr>
        </p:nvSpPr>
        <p:spPr>
          <a:xfrm>
            <a:off x="-501161" y="392968"/>
            <a:ext cx="9253904" cy="930275"/>
          </a:xfrm>
        </p:spPr>
        <p:txBody>
          <a:bodyPr vert="horz"/>
          <a:lstStyle/>
          <a:p>
            <a:pPr lvl="0" algn="ctr">
              <a:defRPr/>
            </a:pPr>
            <a:r>
              <a:rPr lang="ko-KR" altLang="en-US"/>
              <a:t>드론 랜딩 기어의 필요성</a:t>
            </a:r>
            <a:endParaRPr lang="ko-KR" altLang="en-US"/>
          </a:p>
        </p:txBody>
      </p:sp>
      <p:pic>
        <p:nvPicPr>
          <p:cNvPr id="505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7712259" y="1389902"/>
            <a:ext cx="3926987" cy="2469841"/>
          </a:xfrm>
          <a:prstGeom prst="rect">
            <a:avLst/>
          </a:prstGeom>
        </p:spPr>
      </p:pic>
      <p:pic>
        <p:nvPicPr>
          <p:cNvPr id="507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503910" y="1473584"/>
            <a:ext cx="3489204" cy="2892404"/>
          </a:xfrm>
          <a:prstGeom prst="rect">
            <a:avLst/>
          </a:prstGeom>
        </p:spPr>
      </p:pic>
      <p:pic>
        <p:nvPicPr>
          <p:cNvPr id="508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4560582" y="3549429"/>
            <a:ext cx="3070835" cy="2047023"/>
          </a:xfrm>
          <a:prstGeom prst="rect">
            <a:avLst/>
          </a:prstGeom>
        </p:spPr>
      </p:pic>
      <p:sp>
        <p:nvSpPr>
          <p:cNvPr id="509" name="Title 1"/>
          <p:cNvSpPr>
            <a:spLocks noGrp="1"/>
          </p:cNvSpPr>
          <p:nvPr/>
        </p:nvSpPr>
        <p:spPr>
          <a:xfrm>
            <a:off x="1620712" y="4894633"/>
            <a:ext cx="2149929" cy="658130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울퉁불퉁한 길</a:t>
            </a:r>
            <a:endPara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10" name="Title 1"/>
          <p:cNvSpPr>
            <a:spLocks noGrp="1"/>
          </p:cNvSpPr>
          <p:nvPr/>
        </p:nvSpPr>
        <p:spPr>
          <a:xfrm>
            <a:off x="5021035" y="5861886"/>
            <a:ext cx="2149929" cy="658130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계단</a:t>
            </a:r>
            <a:endPara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11" name="Title 1"/>
          <p:cNvSpPr>
            <a:spLocks noGrp="1"/>
          </p:cNvSpPr>
          <p:nvPr/>
        </p:nvSpPr>
        <p:spPr>
          <a:xfrm>
            <a:off x="8727004" y="4119511"/>
            <a:ext cx="1978479" cy="534305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경사면</a:t>
            </a:r>
            <a:endPara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4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Isosceles Triangle 499"/>
          <p:cNvSpPr/>
          <p:nvPr/>
        </p:nvSpPr>
        <p:spPr>
          <a:xfrm flipV="1">
            <a:off x="10257008" y="-4"/>
            <a:ext cx="1934991" cy="216353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99" name="Isosceles Triangle 498"/>
          <p:cNvSpPr/>
          <p:nvPr/>
        </p:nvSpPr>
        <p:spPr>
          <a:xfrm>
            <a:off x="7878851" y="2191146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09" name="Title 1"/>
          <p:cNvSpPr>
            <a:spLocks noGrp="1"/>
          </p:cNvSpPr>
          <p:nvPr/>
        </p:nvSpPr>
        <p:spPr>
          <a:xfrm>
            <a:off x="257991" y="5562689"/>
            <a:ext cx="11533608" cy="1039327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드론몸체에 레이저센서가 달려있으며</a:t>
            </a: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거리측정센서의 방향은 발끝보다 아래방향</a:t>
            </a: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13" name="Title 1"/>
          <p:cNvSpPr>
            <a:spLocks noGrp="1"/>
          </p:cNvSpPr>
          <p:nvPr/>
        </p:nvSpPr>
        <p:spPr>
          <a:xfrm>
            <a:off x="333375" y="392234"/>
            <a:ext cx="6762750" cy="930275"/>
          </a:xfrm>
          <a:prstGeom prst="rect">
            <a:avLst/>
          </a:prstGeom>
        </p:spPr>
        <p:txBody>
          <a:bodyPr vert="horz" lIns="91440" tIns="45720" rIns="91440" bIns="45720" anchor="ctr">
            <a:normAutofit fontScale="92500"/>
          </a:bodyPr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44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Landing gear M</a:t>
            </a:r>
            <a:r>
              <a: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echanism</a:t>
            </a:r>
            <a:endPara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2" name="Title 1"/>
          <p:cNvSpPr>
            <a:spLocks noGrp="1"/>
          </p:cNvSpPr>
          <p:nvPr/>
        </p:nvSpPr>
        <p:spPr>
          <a:xfrm>
            <a:off x="653143" y="4563554"/>
            <a:ext cx="2694177" cy="619131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착륙전</a:t>
            </a:r>
            <a:endPara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3" name="Title 1"/>
          <p:cNvSpPr>
            <a:spLocks noGrp="1"/>
          </p:cNvSpPr>
          <p:nvPr/>
        </p:nvSpPr>
        <p:spPr>
          <a:xfrm>
            <a:off x="4525442" y="4612982"/>
            <a:ext cx="2694177" cy="619131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착륙중</a:t>
            </a:r>
            <a:endPara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4" name="Title 1"/>
          <p:cNvSpPr>
            <a:spLocks noGrp="1"/>
          </p:cNvSpPr>
          <p:nvPr/>
        </p:nvSpPr>
        <p:spPr>
          <a:xfrm>
            <a:off x="8565070" y="4649538"/>
            <a:ext cx="2694177" cy="619131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착륙후</a:t>
            </a:r>
            <a:endPara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pic>
        <p:nvPicPr>
          <p:cNvPr id="525" name=""/>
          <p:cNvPicPr>
            <a:picLocks noChangeAspect="1"/>
          </p:cNvPicPr>
          <p:nvPr/>
        </p:nvPicPr>
        <p:blipFill rotWithShape="1">
          <a:blip r:embed="rId3"/>
          <a:srcRect l="-280" t="940" r="280" b="66630"/>
          <a:stretch>
            <a:fillRect/>
          </a:stretch>
        </p:blipFill>
        <p:spPr>
          <a:xfrm>
            <a:off x="313211" y="1870511"/>
            <a:ext cx="3291405" cy="2224216"/>
          </a:xfrm>
          <a:prstGeom prst="rect">
            <a:avLst/>
          </a:prstGeom>
        </p:spPr>
      </p:pic>
      <p:pic>
        <p:nvPicPr>
          <p:cNvPr id="526" name=""/>
          <p:cNvPicPr>
            <a:picLocks noChangeAspect="1"/>
          </p:cNvPicPr>
          <p:nvPr/>
        </p:nvPicPr>
        <p:blipFill rotWithShape="1">
          <a:blip r:embed="rId4"/>
          <a:srcRect t="31710" b="37210"/>
          <a:stretch>
            <a:fillRect/>
          </a:stretch>
        </p:blipFill>
        <p:spPr>
          <a:xfrm>
            <a:off x="4100102" y="1954153"/>
            <a:ext cx="3806550" cy="2131443"/>
          </a:xfrm>
          <a:prstGeom prst="rect">
            <a:avLst/>
          </a:prstGeom>
        </p:spPr>
      </p:pic>
      <p:pic>
        <p:nvPicPr>
          <p:cNvPr id="527" name=""/>
          <p:cNvPicPr>
            <a:picLocks noChangeAspect="1"/>
          </p:cNvPicPr>
          <p:nvPr/>
        </p:nvPicPr>
        <p:blipFill rotWithShape="1">
          <a:blip r:embed="rId5"/>
          <a:srcRect l="8390" t="63890" r="-15610" b="2040"/>
          <a:stretch>
            <a:fillRect/>
          </a:stretch>
        </p:blipFill>
        <p:spPr>
          <a:xfrm>
            <a:off x="8109350" y="1648418"/>
            <a:ext cx="3838418" cy="2336321"/>
          </a:xfrm>
          <a:custGeom>
            <a:avLst/>
            <a:gd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4975076" h="2337746">
                <a:moveTo>
                  <a:pt x="466974" y="143860"/>
                </a:moveTo>
                <a:cubicBezTo>
                  <a:pt x="548395" y="143860"/>
                  <a:pt x="1596095" y="142661"/>
                  <a:pt x="1688293" y="143860"/>
                </a:cubicBezTo>
                <a:cubicBezTo>
                  <a:pt x="1780490" y="145058"/>
                  <a:pt x="1781687" y="160645"/>
                  <a:pt x="1849938" y="161843"/>
                </a:cubicBezTo>
                <a:cubicBezTo>
                  <a:pt x="1918188" y="163042"/>
                  <a:pt x="2648584" y="163042"/>
                  <a:pt x="2712044" y="161843"/>
                </a:cubicBezTo>
                <a:cubicBezTo>
                  <a:pt x="2775505" y="160645"/>
                  <a:pt x="2791071" y="145058"/>
                  <a:pt x="2801848" y="143860"/>
                </a:cubicBezTo>
                <a:cubicBezTo>
                  <a:pt x="2812624" y="142661"/>
                  <a:pt x="2865307" y="145058"/>
                  <a:pt x="2873690" y="143860"/>
                </a:cubicBezTo>
                <a:cubicBezTo>
                  <a:pt x="2882071" y="142661"/>
                  <a:pt x="2922781" y="127077"/>
                  <a:pt x="2927571" y="125878"/>
                </a:cubicBezTo>
                <a:cubicBezTo>
                  <a:pt x="2932360" y="124680"/>
                  <a:pt x="2941939" y="127077"/>
                  <a:pt x="2945531" y="125878"/>
                </a:cubicBezTo>
                <a:cubicBezTo>
                  <a:pt x="2949123" y="124680"/>
                  <a:pt x="2977861" y="109094"/>
                  <a:pt x="2981453" y="107895"/>
                </a:cubicBezTo>
                <a:cubicBezTo>
                  <a:pt x="2985045" y="106697"/>
                  <a:pt x="2995821" y="109094"/>
                  <a:pt x="2999413" y="107895"/>
                </a:cubicBezTo>
                <a:cubicBezTo>
                  <a:pt x="3003005" y="106697"/>
                  <a:pt x="3023360" y="91112"/>
                  <a:pt x="3035334" y="89913"/>
                </a:cubicBezTo>
                <a:cubicBezTo>
                  <a:pt x="3047308" y="88714"/>
                  <a:pt x="3162255" y="86316"/>
                  <a:pt x="3179019" y="89913"/>
                </a:cubicBezTo>
                <a:cubicBezTo>
                  <a:pt x="3195782" y="93509"/>
                  <a:pt x="3268821" y="140263"/>
                  <a:pt x="3286782" y="143860"/>
                </a:cubicBezTo>
                <a:cubicBezTo>
                  <a:pt x="3304743" y="147457"/>
                  <a:pt x="3431664" y="141462"/>
                  <a:pt x="3448427" y="143860"/>
                </a:cubicBezTo>
                <a:cubicBezTo>
                  <a:pt x="3465191" y="146258"/>
                  <a:pt x="3527454" y="176229"/>
                  <a:pt x="3538230" y="179826"/>
                </a:cubicBezTo>
                <a:cubicBezTo>
                  <a:pt x="3549007" y="183422"/>
                  <a:pt x="3600493" y="194212"/>
                  <a:pt x="3610073" y="197809"/>
                </a:cubicBezTo>
                <a:cubicBezTo>
                  <a:pt x="3619650" y="201405"/>
                  <a:pt x="3673532" y="231377"/>
                  <a:pt x="3681914" y="233774"/>
                </a:cubicBezTo>
                <a:cubicBezTo>
                  <a:pt x="3690296" y="236172"/>
                  <a:pt x="3731007" y="232575"/>
                  <a:pt x="3735796" y="233774"/>
                </a:cubicBezTo>
                <a:cubicBezTo>
                  <a:pt x="3740586" y="234973"/>
                  <a:pt x="3751363" y="248159"/>
                  <a:pt x="3753758" y="251756"/>
                </a:cubicBezTo>
                <a:cubicBezTo>
                  <a:pt x="3756152" y="255352"/>
                  <a:pt x="3770520" y="282926"/>
                  <a:pt x="3771718" y="287722"/>
                </a:cubicBezTo>
                <a:cubicBezTo>
                  <a:pt x="3772914" y="292517"/>
                  <a:pt x="3770520" y="318892"/>
                  <a:pt x="3771718" y="323687"/>
                </a:cubicBezTo>
                <a:cubicBezTo>
                  <a:pt x="3772914" y="328482"/>
                  <a:pt x="3787283" y="356057"/>
                  <a:pt x="3789678" y="359653"/>
                </a:cubicBezTo>
                <a:cubicBezTo>
                  <a:pt x="3792072" y="363250"/>
                  <a:pt x="3806441" y="372840"/>
                  <a:pt x="3807639" y="377635"/>
                </a:cubicBezTo>
                <a:cubicBezTo>
                  <a:pt x="3808835" y="382431"/>
                  <a:pt x="3805244" y="424390"/>
                  <a:pt x="3807639" y="431584"/>
                </a:cubicBezTo>
                <a:cubicBezTo>
                  <a:pt x="3810032" y="438777"/>
                  <a:pt x="3841165" y="477139"/>
                  <a:pt x="3843560" y="485531"/>
                </a:cubicBezTo>
                <a:cubicBezTo>
                  <a:pt x="3845955" y="493923"/>
                  <a:pt x="3841165" y="547871"/>
                  <a:pt x="3843560" y="557462"/>
                </a:cubicBezTo>
                <a:cubicBezTo>
                  <a:pt x="3845955" y="567053"/>
                  <a:pt x="3877085" y="621000"/>
                  <a:pt x="3879481" y="629393"/>
                </a:cubicBezTo>
                <a:cubicBezTo>
                  <a:pt x="3881875" y="637784"/>
                  <a:pt x="3878283" y="676147"/>
                  <a:pt x="3879481" y="683340"/>
                </a:cubicBezTo>
                <a:cubicBezTo>
                  <a:pt x="3880677" y="690533"/>
                  <a:pt x="3895047" y="730095"/>
                  <a:pt x="3897441" y="737288"/>
                </a:cubicBezTo>
                <a:cubicBezTo>
                  <a:pt x="3899836" y="744482"/>
                  <a:pt x="3913007" y="784043"/>
                  <a:pt x="3915402" y="791237"/>
                </a:cubicBezTo>
                <a:cubicBezTo>
                  <a:pt x="3917796" y="798429"/>
                  <a:pt x="3930968" y="839190"/>
                  <a:pt x="3933362" y="845184"/>
                </a:cubicBezTo>
                <a:cubicBezTo>
                  <a:pt x="3935757" y="851178"/>
                  <a:pt x="3948929" y="875155"/>
                  <a:pt x="3951323" y="881149"/>
                </a:cubicBezTo>
                <a:cubicBezTo>
                  <a:pt x="3953718" y="887143"/>
                  <a:pt x="3968086" y="921910"/>
                  <a:pt x="3969284" y="935098"/>
                </a:cubicBezTo>
                <a:cubicBezTo>
                  <a:pt x="3970480" y="948285"/>
                  <a:pt x="3968086" y="1065772"/>
                  <a:pt x="3969284" y="1078959"/>
                </a:cubicBezTo>
                <a:cubicBezTo>
                  <a:pt x="3970480" y="1092146"/>
                  <a:pt x="3986047" y="1111328"/>
                  <a:pt x="3987245" y="1132907"/>
                </a:cubicBezTo>
                <a:cubicBezTo>
                  <a:pt x="3988441" y="1154486"/>
                  <a:pt x="3988441" y="1381067"/>
                  <a:pt x="3987245" y="1402647"/>
                </a:cubicBezTo>
                <a:cubicBezTo>
                  <a:pt x="3986047" y="1424226"/>
                  <a:pt x="3971677" y="1449400"/>
                  <a:pt x="3969284" y="1456594"/>
                </a:cubicBezTo>
                <a:cubicBezTo>
                  <a:pt x="3966888" y="1463787"/>
                  <a:pt x="3953718" y="1506946"/>
                  <a:pt x="3951323" y="1510542"/>
                </a:cubicBezTo>
                <a:cubicBezTo>
                  <a:pt x="3948929" y="1514139"/>
                  <a:pt x="3936954" y="1506946"/>
                  <a:pt x="3933362" y="1510542"/>
                </a:cubicBezTo>
                <a:cubicBezTo>
                  <a:pt x="3929770" y="1514139"/>
                  <a:pt x="3901033" y="1557298"/>
                  <a:pt x="3897441" y="1564491"/>
                </a:cubicBezTo>
                <a:cubicBezTo>
                  <a:pt x="3893849" y="1571684"/>
                  <a:pt x="3881875" y="1614843"/>
                  <a:pt x="3879481" y="1618439"/>
                </a:cubicBezTo>
                <a:cubicBezTo>
                  <a:pt x="3877085" y="1622035"/>
                  <a:pt x="3865112" y="1614843"/>
                  <a:pt x="3861521" y="1618439"/>
                </a:cubicBezTo>
                <a:cubicBezTo>
                  <a:pt x="3857928" y="1622035"/>
                  <a:pt x="3829191" y="1665193"/>
                  <a:pt x="3825600" y="1672387"/>
                </a:cubicBezTo>
                <a:cubicBezTo>
                  <a:pt x="3822007" y="1679579"/>
                  <a:pt x="3810032" y="1721538"/>
                  <a:pt x="3807639" y="1726335"/>
                </a:cubicBezTo>
                <a:cubicBezTo>
                  <a:pt x="3805244" y="1731130"/>
                  <a:pt x="3792072" y="1740721"/>
                  <a:pt x="3789678" y="1744318"/>
                </a:cubicBezTo>
                <a:cubicBezTo>
                  <a:pt x="3787283" y="1747914"/>
                  <a:pt x="3774112" y="1775487"/>
                  <a:pt x="3771718" y="1780282"/>
                </a:cubicBezTo>
                <a:cubicBezTo>
                  <a:pt x="3769322" y="1785077"/>
                  <a:pt x="3757350" y="1812652"/>
                  <a:pt x="3753758" y="1816248"/>
                </a:cubicBezTo>
                <a:cubicBezTo>
                  <a:pt x="3750166" y="1819844"/>
                  <a:pt x="3721427" y="1830635"/>
                  <a:pt x="3717836" y="1834231"/>
                </a:cubicBezTo>
                <a:cubicBezTo>
                  <a:pt x="3714243" y="1837828"/>
                  <a:pt x="3702270" y="1867798"/>
                  <a:pt x="3699875" y="1870195"/>
                </a:cubicBezTo>
                <a:cubicBezTo>
                  <a:pt x="3697481" y="1872593"/>
                  <a:pt x="3684309" y="1867798"/>
                  <a:pt x="3681914" y="1870195"/>
                </a:cubicBezTo>
                <a:cubicBezTo>
                  <a:pt x="3679520" y="1872593"/>
                  <a:pt x="3667546" y="1902565"/>
                  <a:pt x="3663954" y="1906161"/>
                </a:cubicBezTo>
                <a:cubicBezTo>
                  <a:pt x="3660362" y="1909758"/>
                  <a:pt x="3634020" y="1920548"/>
                  <a:pt x="3628033" y="1924144"/>
                </a:cubicBezTo>
                <a:cubicBezTo>
                  <a:pt x="3622046" y="1927740"/>
                  <a:pt x="3578940" y="1957711"/>
                  <a:pt x="3574152" y="1960109"/>
                </a:cubicBezTo>
                <a:cubicBezTo>
                  <a:pt x="3569362" y="1962507"/>
                  <a:pt x="3562177" y="1957711"/>
                  <a:pt x="3556191" y="1960109"/>
                </a:cubicBezTo>
                <a:cubicBezTo>
                  <a:pt x="3550204" y="1962507"/>
                  <a:pt x="3491532" y="1992478"/>
                  <a:pt x="3484348" y="1996075"/>
                </a:cubicBezTo>
                <a:cubicBezTo>
                  <a:pt x="3477164" y="1999672"/>
                  <a:pt x="3454414" y="2011659"/>
                  <a:pt x="3448427" y="2014057"/>
                </a:cubicBezTo>
                <a:cubicBezTo>
                  <a:pt x="3442439" y="2016455"/>
                  <a:pt x="3405322" y="2028443"/>
                  <a:pt x="3394546" y="2032040"/>
                </a:cubicBezTo>
                <a:cubicBezTo>
                  <a:pt x="3383770" y="2035636"/>
                  <a:pt x="3298756" y="2063210"/>
                  <a:pt x="3286782" y="2068006"/>
                </a:cubicBezTo>
                <a:cubicBezTo>
                  <a:pt x="3274809" y="2072801"/>
                  <a:pt x="3229309" y="2099175"/>
                  <a:pt x="3214940" y="2103971"/>
                </a:cubicBezTo>
                <a:cubicBezTo>
                  <a:pt x="3200572" y="2108766"/>
                  <a:pt x="3083229" y="2137538"/>
                  <a:pt x="3071256" y="2139935"/>
                </a:cubicBezTo>
                <a:cubicBezTo>
                  <a:pt x="3059282" y="2142333"/>
                  <a:pt x="3042518" y="2138737"/>
                  <a:pt x="3035334" y="2139935"/>
                </a:cubicBezTo>
                <a:cubicBezTo>
                  <a:pt x="3028149" y="2141134"/>
                  <a:pt x="2971874" y="2155521"/>
                  <a:pt x="2963493" y="2157919"/>
                </a:cubicBezTo>
                <a:cubicBezTo>
                  <a:pt x="2955111" y="2160316"/>
                  <a:pt x="2917992" y="2174703"/>
                  <a:pt x="2909611" y="2175902"/>
                </a:cubicBezTo>
                <a:cubicBezTo>
                  <a:pt x="2901229" y="2177099"/>
                  <a:pt x="2844952" y="2174703"/>
                  <a:pt x="2837768" y="2175902"/>
                </a:cubicBezTo>
                <a:cubicBezTo>
                  <a:pt x="2830584" y="2177099"/>
                  <a:pt x="2809032" y="2191487"/>
                  <a:pt x="2801848" y="2193884"/>
                </a:cubicBezTo>
                <a:cubicBezTo>
                  <a:pt x="2794663" y="2196281"/>
                  <a:pt x="2749163" y="2209469"/>
                  <a:pt x="2730005" y="2211867"/>
                </a:cubicBezTo>
                <a:cubicBezTo>
                  <a:pt x="2710847" y="2214264"/>
                  <a:pt x="2625833" y="2228650"/>
                  <a:pt x="2514478" y="2229849"/>
                </a:cubicBezTo>
                <a:cubicBezTo>
                  <a:pt x="2403122" y="2231047"/>
                  <a:pt x="1157856" y="2228650"/>
                  <a:pt x="1059672" y="2229849"/>
                </a:cubicBezTo>
                <a:cubicBezTo>
                  <a:pt x="961487" y="2231047"/>
                  <a:pt x="1048897" y="2246633"/>
                  <a:pt x="1041712" y="2247832"/>
                </a:cubicBezTo>
                <a:cubicBezTo>
                  <a:pt x="1034528" y="2249030"/>
                  <a:pt x="960290" y="2246633"/>
                  <a:pt x="951909" y="2247832"/>
                </a:cubicBezTo>
                <a:cubicBezTo>
                  <a:pt x="943527" y="2249030"/>
                  <a:pt x="919580" y="2264616"/>
                  <a:pt x="915988" y="2265815"/>
                </a:cubicBezTo>
                <a:cubicBezTo>
                  <a:pt x="912396" y="2267013"/>
                  <a:pt x="901619" y="2264616"/>
                  <a:pt x="898028" y="2265815"/>
                </a:cubicBezTo>
                <a:cubicBezTo>
                  <a:pt x="894435" y="2267013"/>
                  <a:pt x="865698" y="2281400"/>
                  <a:pt x="862106" y="2283797"/>
                </a:cubicBezTo>
                <a:cubicBezTo>
                  <a:pt x="858514" y="2286194"/>
                  <a:pt x="848935" y="2300581"/>
                  <a:pt x="844145" y="2301780"/>
                </a:cubicBezTo>
                <a:cubicBezTo>
                  <a:pt x="839356" y="2302978"/>
                  <a:pt x="796250" y="2300581"/>
                  <a:pt x="790264" y="2301780"/>
                </a:cubicBezTo>
                <a:cubicBezTo>
                  <a:pt x="784277" y="2302978"/>
                  <a:pt x="760330" y="2318564"/>
                  <a:pt x="754343" y="2319764"/>
                </a:cubicBezTo>
                <a:cubicBezTo>
                  <a:pt x="748356" y="2320961"/>
                  <a:pt x="706448" y="2318564"/>
                  <a:pt x="700462" y="2319764"/>
                </a:cubicBezTo>
                <a:cubicBezTo>
                  <a:pt x="694475" y="2320961"/>
                  <a:pt x="695672" y="2336547"/>
                  <a:pt x="664540" y="2337746"/>
                </a:cubicBezTo>
                <a:cubicBezTo>
                  <a:pt x="633409" y="2338943"/>
                  <a:pt x="267013" y="2340143"/>
                  <a:pt x="233487" y="2337746"/>
                </a:cubicBezTo>
                <a:cubicBezTo>
                  <a:pt x="199961" y="2335347"/>
                  <a:pt x="171224" y="2306575"/>
                  <a:pt x="161645" y="2301780"/>
                </a:cubicBezTo>
                <a:cubicBezTo>
                  <a:pt x="152066" y="2296983"/>
                  <a:pt x="95789" y="2269411"/>
                  <a:pt x="89802" y="2265815"/>
                </a:cubicBezTo>
                <a:cubicBezTo>
                  <a:pt x="83816" y="2262218"/>
                  <a:pt x="74236" y="2249030"/>
                  <a:pt x="71842" y="2247832"/>
                </a:cubicBezTo>
                <a:cubicBezTo>
                  <a:pt x="69447" y="2246633"/>
                  <a:pt x="56276" y="2250229"/>
                  <a:pt x="53882" y="2247832"/>
                </a:cubicBezTo>
                <a:cubicBezTo>
                  <a:pt x="51487" y="2245434"/>
                  <a:pt x="38315" y="2215463"/>
                  <a:pt x="35921" y="2211867"/>
                </a:cubicBezTo>
                <a:cubicBezTo>
                  <a:pt x="33526" y="2208270"/>
                  <a:pt x="20355" y="2198680"/>
                  <a:pt x="17960" y="2193884"/>
                </a:cubicBezTo>
                <a:cubicBezTo>
                  <a:pt x="15566" y="2189088"/>
                  <a:pt x="1197" y="2175901"/>
                  <a:pt x="0" y="2139935"/>
                </a:cubicBezTo>
                <a:cubicBezTo>
                  <a:pt x="-1197" y="2103970"/>
                  <a:pt x="-2394" y="1691568"/>
                  <a:pt x="0" y="1654404"/>
                </a:cubicBezTo>
                <a:cubicBezTo>
                  <a:pt x="2394" y="1617239"/>
                  <a:pt x="32328" y="1589667"/>
                  <a:pt x="35921" y="1582474"/>
                </a:cubicBezTo>
                <a:cubicBezTo>
                  <a:pt x="39512" y="1575280"/>
                  <a:pt x="51487" y="1552503"/>
                  <a:pt x="53882" y="1546508"/>
                </a:cubicBezTo>
                <a:cubicBezTo>
                  <a:pt x="56276" y="1540514"/>
                  <a:pt x="68250" y="1500952"/>
                  <a:pt x="71842" y="1492561"/>
                </a:cubicBezTo>
                <a:cubicBezTo>
                  <a:pt x="75434" y="1484168"/>
                  <a:pt x="102974" y="1429022"/>
                  <a:pt x="107763" y="1420630"/>
                </a:cubicBezTo>
                <a:cubicBezTo>
                  <a:pt x="112553" y="1412237"/>
                  <a:pt x="137698" y="1376272"/>
                  <a:pt x="143684" y="1366682"/>
                </a:cubicBezTo>
                <a:cubicBezTo>
                  <a:pt x="149671" y="1357090"/>
                  <a:pt x="192776" y="1286359"/>
                  <a:pt x="197566" y="1276768"/>
                </a:cubicBezTo>
                <a:cubicBezTo>
                  <a:pt x="202355" y="1267178"/>
                  <a:pt x="211935" y="1230014"/>
                  <a:pt x="215526" y="1222820"/>
                </a:cubicBezTo>
                <a:cubicBezTo>
                  <a:pt x="219119" y="1215626"/>
                  <a:pt x="246658" y="1176066"/>
                  <a:pt x="251448" y="1168872"/>
                </a:cubicBezTo>
                <a:cubicBezTo>
                  <a:pt x="256237" y="1161679"/>
                  <a:pt x="281382" y="1123316"/>
                  <a:pt x="287369" y="1114924"/>
                </a:cubicBezTo>
                <a:cubicBezTo>
                  <a:pt x="293355" y="1106531"/>
                  <a:pt x="335264" y="1052584"/>
                  <a:pt x="341250" y="1042994"/>
                </a:cubicBezTo>
                <a:cubicBezTo>
                  <a:pt x="347237" y="1033404"/>
                  <a:pt x="371185" y="980654"/>
                  <a:pt x="377172" y="971063"/>
                </a:cubicBezTo>
                <a:cubicBezTo>
                  <a:pt x="383158" y="961472"/>
                  <a:pt x="423868" y="909921"/>
                  <a:pt x="431053" y="899133"/>
                </a:cubicBezTo>
                <a:cubicBezTo>
                  <a:pt x="438237" y="888343"/>
                  <a:pt x="478948" y="817611"/>
                  <a:pt x="484935" y="809219"/>
                </a:cubicBezTo>
                <a:cubicBezTo>
                  <a:pt x="490922" y="800827"/>
                  <a:pt x="517263" y="778049"/>
                  <a:pt x="520856" y="773253"/>
                </a:cubicBezTo>
                <a:cubicBezTo>
                  <a:pt x="524448" y="768458"/>
                  <a:pt x="535224" y="744482"/>
                  <a:pt x="538816" y="737288"/>
                </a:cubicBezTo>
                <a:cubicBezTo>
                  <a:pt x="542408" y="730095"/>
                  <a:pt x="569948" y="674949"/>
                  <a:pt x="574738" y="665358"/>
                </a:cubicBezTo>
                <a:cubicBezTo>
                  <a:pt x="579527" y="655767"/>
                  <a:pt x="605869" y="603018"/>
                  <a:pt x="610658" y="593427"/>
                </a:cubicBezTo>
                <a:cubicBezTo>
                  <a:pt x="615447" y="583836"/>
                  <a:pt x="642987" y="529888"/>
                  <a:pt x="646580" y="521497"/>
                </a:cubicBezTo>
                <a:cubicBezTo>
                  <a:pt x="650172" y="513104"/>
                  <a:pt x="660948" y="475941"/>
                  <a:pt x="664540" y="467549"/>
                </a:cubicBezTo>
                <a:cubicBezTo>
                  <a:pt x="668133" y="459157"/>
                  <a:pt x="696870" y="402811"/>
                  <a:pt x="700462" y="395618"/>
                </a:cubicBezTo>
                <a:cubicBezTo>
                  <a:pt x="704054" y="388425"/>
                  <a:pt x="716027" y="363250"/>
                  <a:pt x="718422" y="359653"/>
                </a:cubicBezTo>
                <a:cubicBezTo>
                  <a:pt x="720817" y="356057"/>
                  <a:pt x="732790" y="347664"/>
                  <a:pt x="736382" y="341670"/>
                </a:cubicBezTo>
                <a:cubicBezTo>
                  <a:pt x="739974" y="335676"/>
                  <a:pt x="768711" y="278131"/>
                  <a:pt x="772303" y="269740"/>
                </a:cubicBezTo>
                <a:cubicBezTo>
                  <a:pt x="775895" y="261347"/>
                  <a:pt x="787869" y="221785"/>
                  <a:pt x="790264" y="215791"/>
                </a:cubicBezTo>
                <a:cubicBezTo>
                  <a:pt x="792659" y="209797"/>
                  <a:pt x="807028" y="185820"/>
                  <a:pt x="808225" y="179826"/>
                </a:cubicBezTo>
                <a:cubicBezTo>
                  <a:pt x="809422" y="173831"/>
                  <a:pt x="807028" y="131872"/>
                  <a:pt x="808225" y="125878"/>
                </a:cubicBezTo>
                <a:cubicBezTo>
                  <a:pt x="809422" y="119884"/>
                  <a:pt x="824988" y="94708"/>
                  <a:pt x="826185" y="89913"/>
                </a:cubicBezTo>
                <a:cubicBezTo>
                  <a:pt x="827382" y="85118"/>
                  <a:pt x="824988" y="58742"/>
                  <a:pt x="826185" y="53947"/>
                </a:cubicBezTo>
                <a:cubicBezTo>
                  <a:pt x="827382" y="49152"/>
                  <a:pt x="842948" y="21578"/>
                  <a:pt x="844145" y="17982"/>
                </a:cubicBezTo>
                <a:cubicBezTo>
                  <a:pt x="845342" y="14385"/>
                  <a:pt x="844145" y="1198"/>
                  <a:pt x="844145" y="0"/>
                </a:cubicBezTo>
                <a:lnTo>
                  <a:pt x="4975076" y="575445"/>
                </a:lnTo>
                <a:close/>
              </a:path>
            </a:pathLst>
          </a:custGeom>
        </p:spPr>
      </p:pic>
      <p:sp>
        <p:nvSpPr>
          <p:cNvPr id="528" name="Title 1"/>
          <p:cNvSpPr>
            <a:spLocks noGrp="1"/>
          </p:cNvSpPr>
          <p:nvPr/>
        </p:nvSpPr>
        <p:spPr>
          <a:xfrm>
            <a:off x="8612786" y="1280439"/>
            <a:ext cx="2694177" cy="61913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anchor="ctr">
            <a:normAutofit fontScale="92500" lnSpcReduction="10000"/>
          </a:bodyPr>
          <a:lstStyle/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랜딩기어</a:t>
            </a:r>
            <a:endPara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  <a:solidFill>
                  <a:srgbClr val="ff0000"/>
                </a:solidFill>
                <a:latin typeface="Segoe UI"/>
                <a:ea typeface="+mj-ea"/>
                <a:cs typeface="Segoe UI"/>
              </a:rPr>
              <a:t>●거리측정센서</a:t>
            </a:r>
            <a:endPara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<a:solidFill>
                <a:srgbClr val="ff0000"/>
              </a:solidFill>
              <a:latin typeface="Segoe UI"/>
              <a:ea typeface="+mj-ea"/>
              <a:cs typeface="Segoe U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5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Isosceles Triangle 499"/>
          <p:cNvSpPr/>
          <p:nvPr/>
        </p:nvSpPr>
        <p:spPr>
          <a:xfrm flipV="1">
            <a:off x="10257008" y="-4"/>
            <a:ext cx="1934991" cy="216353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99" name="Isosceles Triangle 498"/>
          <p:cNvSpPr/>
          <p:nvPr/>
        </p:nvSpPr>
        <p:spPr>
          <a:xfrm>
            <a:off x="7878851" y="2191146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09" name="Title 1"/>
          <p:cNvSpPr>
            <a:spLocks noGrp="1"/>
          </p:cNvSpPr>
          <p:nvPr/>
        </p:nvSpPr>
        <p:spPr>
          <a:xfrm>
            <a:off x="6096000" y="2284319"/>
            <a:ext cx="5812846" cy="1429033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각각</a:t>
            </a:r>
            <a:r>
              <a:rPr xmlns:mc="http://schemas.openxmlformats.org/markup-compatibility/2006" xmlns:hp="http://schemas.haansoft.com/office/presentation/8.0" kumimoji="0" lang="en-US" altLang="ko-KR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3</a:t>
            </a:r>
            <a:r>
              <a: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개의 다리</a:t>
            </a:r>
            <a:r>
              <a:rPr xmlns:mc="http://schemas.openxmlformats.org/markup-compatibility/2006" xmlns:hp="http://schemas.haansoft.com/office/presentation/8.0" kumimoji="0" lang="en-US" altLang="ko-KR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거리측정센서</a:t>
            </a:r>
            <a:r>
              <a:rPr xmlns:mc="http://schemas.openxmlformats.org/markup-compatibility/2006" xmlns:hp="http://schemas.haansoft.com/office/presentation/8.0" kumimoji="0" lang="en-US" altLang="ko-KR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모터 사용</a:t>
            </a:r>
            <a:endPara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</a:t>
            </a:r>
            <a:r>
              <a:rPr xmlns:mc="http://schemas.openxmlformats.org/markup-compatibility/2006" xmlns:hp="http://schemas.haansoft.com/office/presentation/8.0" kumimoji="0" lang="en-US" altLang="ko-KR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MCU</a:t>
            </a:r>
            <a:r>
              <a: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를 이용해 거리측정센서</a:t>
            </a:r>
            <a:r>
              <a:rPr xmlns:mc="http://schemas.openxmlformats.org/markup-compatibility/2006" xmlns:hp="http://schemas.haansoft.com/office/presentation/8.0" kumimoji="0" lang="en-US" altLang="ko-KR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 모터 제어</a:t>
            </a:r>
            <a:endPara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13" name="Title 1"/>
          <p:cNvSpPr>
            <a:spLocks noGrp="1"/>
          </p:cNvSpPr>
          <p:nvPr/>
        </p:nvSpPr>
        <p:spPr>
          <a:xfrm>
            <a:off x="180975" y="401759"/>
            <a:ext cx="6762750" cy="930275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랜딩 기어 구조</a:t>
            </a:r>
            <a:endPara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pic>
        <p:nvPicPr>
          <p:cNvPr id="516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261376" y="1453022"/>
            <a:ext cx="5597443" cy="4771308"/>
          </a:xfrm>
          <a:prstGeom prst="rect">
            <a:avLst/>
          </a:prstGeom>
        </p:spPr>
      </p:pic>
      <p:sp>
        <p:nvSpPr>
          <p:cNvPr id="517" name="Title 1"/>
          <p:cNvSpPr>
            <a:spLocks noGrp="1"/>
          </p:cNvSpPr>
          <p:nvPr/>
        </p:nvSpPr>
        <p:spPr>
          <a:xfrm>
            <a:off x="6096000" y="4116396"/>
            <a:ext cx="5812846" cy="1429033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무게  </a:t>
            </a:r>
            <a:r>
              <a:rPr xmlns:mc="http://schemas.openxmlformats.org/markup-compatibility/2006" xmlns:hp="http://schemas.haansoft.com/office/presentation/8.0" kumimoji="0" lang="en-US" altLang="ko-KR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 다리 하나당 모터</a:t>
            </a:r>
            <a:r>
              <a:rPr xmlns:mc="http://schemas.openxmlformats.org/markup-compatibility/2006" xmlns:hp="http://schemas.haansoft.com/office/presentation/8.0" kumimoji="0" lang="en-US" altLang="ko-KR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다리프레임</a:t>
            </a:r>
            <a:r>
              <a:rPr xmlns:mc="http://schemas.openxmlformats.org/markup-compatibility/2006" xmlns:hp="http://schemas.haansoft.com/office/presentation/8.0" kumimoji="0" lang="en-US" altLang="ko-KR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센서</a:t>
            </a:r>
            <a:endParaRPr xmlns:mc="http://schemas.openxmlformats.org/markup-compatibility/2006" xmlns:hp="http://schemas.haansoft.com/office/presentation/8.0" kumimoji="0" lang="ko-KR" altLang="en-US" sz="21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6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5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5638323" y="1660551"/>
            <a:ext cx="5341802" cy="2699257"/>
          </a:xfrm>
          <a:prstGeom prst="rect">
            <a:avLst/>
          </a:prstGeom>
        </p:spPr>
      </p:pic>
      <p:sp>
        <p:nvSpPr>
          <p:cNvPr id="500" name="Isosceles Triangle 499"/>
          <p:cNvSpPr/>
          <p:nvPr/>
        </p:nvSpPr>
        <p:spPr>
          <a:xfrm flipV="1">
            <a:off x="10257008" y="-4"/>
            <a:ext cx="1934991" cy="216353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99" name="Isosceles Triangle 498"/>
          <p:cNvSpPr/>
          <p:nvPr/>
        </p:nvSpPr>
        <p:spPr>
          <a:xfrm>
            <a:off x="7878851" y="2191146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13" name="Title 1"/>
          <p:cNvSpPr>
            <a:spLocks noGrp="1"/>
          </p:cNvSpPr>
          <p:nvPr/>
        </p:nvSpPr>
        <p:spPr>
          <a:xfrm>
            <a:off x="180975" y="401759"/>
            <a:ext cx="6762750" cy="930275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랜딩 기어 구조</a:t>
            </a:r>
            <a:endPara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pic>
        <p:nvPicPr>
          <p:cNvPr id="518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450614" y="1247517"/>
            <a:ext cx="2743200" cy="3389978"/>
          </a:xfrm>
          <a:prstGeom prst="rect">
            <a:avLst/>
          </a:prstGeom>
        </p:spPr>
      </p:pic>
      <p:pic>
        <p:nvPicPr>
          <p:cNvPr id="519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2996602" y="1188526"/>
            <a:ext cx="2248094" cy="3856190"/>
          </a:xfrm>
          <a:prstGeom prst="rect">
            <a:avLst/>
          </a:prstGeom>
        </p:spPr>
      </p:pic>
      <p:sp>
        <p:nvSpPr>
          <p:cNvPr id="520" name="Title 1"/>
          <p:cNvSpPr>
            <a:spLocks noGrp="1"/>
          </p:cNvSpPr>
          <p:nvPr/>
        </p:nvSpPr>
        <p:spPr>
          <a:xfrm>
            <a:off x="911765" y="4764934"/>
            <a:ext cx="1792886" cy="414292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결합전</a:t>
            </a:r>
            <a:endPara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1" name="Title 1"/>
          <p:cNvSpPr>
            <a:spLocks noGrp="1"/>
          </p:cNvSpPr>
          <p:nvPr/>
        </p:nvSpPr>
        <p:spPr>
          <a:xfrm>
            <a:off x="3262317" y="4773946"/>
            <a:ext cx="1792886" cy="455259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결합후</a:t>
            </a:r>
            <a:endPara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09" name="Title 1"/>
          <p:cNvSpPr>
            <a:spLocks noGrp="1"/>
          </p:cNvSpPr>
          <p:nvPr/>
        </p:nvSpPr>
        <p:spPr>
          <a:xfrm>
            <a:off x="348534" y="5574613"/>
            <a:ext cx="11619339" cy="1158089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착륙시 발끝부분이 회전하면서 지면과의 접촉면적 증가</a:t>
            </a:r>
            <a:endParaRPr xmlns:mc="http://schemas.openxmlformats.org/markup-compatibility/2006" xmlns:hp="http://schemas.haansoft.com/office/presentation/8.0" kumimoji="0" lang="ko-KR" altLang="en-US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발끝에 마찰계수가 높은 재질 </a:t>
            </a:r>
            <a:endParaRPr xmlns:mc="http://schemas.openxmlformats.org/markup-compatibility/2006" xmlns:hp="http://schemas.haansoft.com/office/presentation/8.0" kumimoji="0" lang="ko-KR" altLang="en-US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6" name="Title 1"/>
          <p:cNvSpPr>
            <a:spLocks noGrp="1"/>
          </p:cNvSpPr>
          <p:nvPr/>
        </p:nvSpPr>
        <p:spPr>
          <a:xfrm>
            <a:off x="7360568" y="4622691"/>
            <a:ext cx="1792886" cy="701066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착륙후</a:t>
            </a:r>
            <a:endPara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7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Isosceles Triangle 499"/>
          <p:cNvSpPr/>
          <p:nvPr/>
        </p:nvSpPr>
        <p:spPr>
          <a:xfrm flipV="1">
            <a:off x="10257008" y="-4"/>
            <a:ext cx="1934991" cy="216353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99" name="Isosceles Triangle 498"/>
          <p:cNvSpPr/>
          <p:nvPr/>
        </p:nvSpPr>
        <p:spPr>
          <a:xfrm>
            <a:off x="7878851" y="2191146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09" name="Title 1"/>
          <p:cNvSpPr>
            <a:spLocks noGrp="1"/>
          </p:cNvSpPr>
          <p:nvPr/>
        </p:nvSpPr>
        <p:spPr>
          <a:xfrm>
            <a:off x="4928029" y="2449693"/>
            <a:ext cx="6954822" cy="1958612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 다리길이 제어 방식 </a:t>
            </a:r>
            <a:r>
              <a:rPr xmlns:mc="http://schemas.openxmlformats.org/markup-compatibility/2006" xmlns:hp="http://schemas.haansoft.com/office/presentation/8.0" kumimoji="0" lang="en-US" altLang="ko-KR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레크</a:t>
            </a:r>
            <a:r>
              <a:rPr xmlns:mc="http://schemas.openxmlformats.org/markup-compatibility/2006" xmlns:hp="http://schemas.haansoft.com/office/presentation/8.0" kumimoji="0" lang="en-US" altLang="ko-KR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스퍼기어 </a:t>
            </a: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 서보모터 사용</a:t>
            </a:r>
            <a:endParaRPr xmlns:mc="http://schemas.openxmlformats.org/markup-compatibility/2006" xmlns:hp="http://schemas.haansoft.com/office/presentation/8.0" kumimoji="0" lang="ko-KR" altLang="en-US" sz="2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13" name="Title 1"/>
          <p:cNvSpPr>
            <a:spLocks noGrp="1"/>
          </p:cNvSpPr>
          <p:nvPr/>
        </p:nvSpPr>
        <p:spPr>
          <a:xfrm>
            <a:off x="180975" y="401759"/>
            <a:ext cx="6762750" cy="930275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랜딩기어 길이 조정</a:t>
            </a:r>
            <a:endPara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pic>
        <p:nvPicPr>
          <p:cNvPr id="518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1160207" y="2000250"/>
            <a:ext cx="2743200" cy="2857500"/>
          </a:xfrm>
          <a:prstGeom prst="rect">
            <a:avLst/>
          </a:prstGeom>
        </p:spPr>
      </p:pic>
      <p:sp>
        <p:nvSpPr>
          <p:cNvPr id="519" name="Title 1"/>
          <p:cNvSpPr>
            <a:spLocks noGrp="1"/>
          </p:cNvSpPr>
          <p:nvPr/>
        </p:nvSpPr>
        <p:spPr>
          <a:xfrm>
            <a:off x="1168008" y="5348723"/>
            <a:ext cx="2694177" cy="619131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회전운동→직선운동</a:t>
            </a:r>
            <a:endParaRPr xmlns:mc="http://schemas.openxmlformats.org/markup-compatibility/2006" xmlns:hp="http://schemas.haansoft.com/office/presentation/8.0" kumimoji="0" lang="ko-KR" altLang="en-US" sz="2200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8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Isosceles Triangle 499"/>
          <p:cNvSpPr/>
          <p:nvPr/>
        </p:nvSpPr>
        <p:spPr>
          <a:xfrm flipV="1">
            <a:off x="10257008" y="-4"/>
            <a:ext cx="1934991" cy="216353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99" name="Isosceles Triangle 498"/>
          <p:cNvSpPr/>
          <p:nvPr/>
        </p:nvSpPr>
        <p:spPr>
          <a:xfrm>
            <a:off x="7878851" y="2191146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09" name="Title 1"/>
          <p:cNvSpPr>
            <a:spLocks noGrp="1"/>
          </p:cNvSpPr>
          <p:nvPr/>
        </p:nvSpPr>
        <p:spPr>
          <a:xfrm>
            <a:off x="575830" y="5556267"/>
            <a:ext cx="10456346" cy="1128551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각도가 클수록 경사가 높은 지면에 착륙불가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각도가 작을수록 안정성이 떨어짐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경사면의 각도와 랜딩기어의 각도의 차이가 작을수록 다리 길이는 길어짐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13" name="Title 1"/>
          <p:cNvSpPr>
            <a:spLocks noGrp="1"/>
          </p:cNvSpPr>
          <p:nvPr/>
        </p:nvSpPr>
        <p:spPr>
          <a:xfrm>
            <a:off x="404813" y="450512"/>
            <a:ext cx="5691187" cy="930275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랜딩기어 스펙 설정</a:t>
            </a:r>
            <a:endPara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1" name="Title 1"/>
          <p:cNvSpPr>
            <a:spLocks noGrp="1"/>
          </p:cNvSpPr>
          <p:nvPr/>
        </p:nvSpPr>
        <p:spPr>
          <a:xfrm>
            <a:off x="307891" y="1226680"/>
            <a:ext cx="4965989" cy="389081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고려해야 할 변수 </a:t>
            </a:r>
            <a:r>
              <a:rPr xmlns:mc="http://schemas.openxmlformats.org/markup-compatibility/2006" xmlns:hp="http://schemas.haansoft.com/office/presentation/8.0" kumimoji="0" lang="en-US" altLang="ko-KR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 다리와 본체와의 각도 </a:t>
            </a:r>
            <a:r>
              <a:rPr xmlns:mc="http://schemas.openxmlformats.org/markup-compatibility/2006" xmlns:hp="http://schemas.haansoft.com/office/presentation/8.0" kumimoji="0" lang="en-US" altLang="ko-KR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다리길이</a:t>
            </a:r>
            <a:endPara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4" name="Title 1"/>
          <p:cNvSpPr>
            <a:spLocks noGrp="1"/>
          </p:cNvSpPr>
          <p:nvPr/>
        </p:nvSpPr>
        <p:spPr>
          <a:xfrm>
            <a:off x="1739398" y="5025886"/>
            <a:ext cx="1791840" cy="473269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다리각도</a:t>
            </a:r>
            <a:r>
              <a:rPr xmlns:mc="http://schemas.openxmlformats.org/markup-compatibility/2006" xmlns:hp="http://schemas.haansoft.com/office/presentation/8.0" kumimoji="0" lang="en-US" altLang="ko-KR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45</a:t>
            </a:r>
            <a:r>
              <a:rPr xmlns:mc="http://schemas.openxmlformats.org/markup-compatibility/2006" xmlns:hp="http://schemas.haansoft.com/office/presentation/8.0" kumimoji="0" lang="ko-KR" altLang="en-US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도</a:t>
            </a:r>
            <a:endParaRPr xmlns:mc="http://schemas.openxmlformats.org/markup-compatibility/2006" xmlns:hp="http://schemas.haansoft.com/office/presentation/8.0" kumimoji="0" lang="ko-KR" altLang="en-US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5" name="Title 1"/>
          <p:cNvSpPr>
            <a:spLocks noGrp="1"/>
          </p:cNvSpPr>
          <p:nvPr/>
        </p:nvSpPr>
        <p:spPr>
          <a:xfrm>
            <a:off x="7812453" y="5054545"/>
            <a:ext cx="1791840" cy="413006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lstStyle/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다리각도</a:t>
            </a:r>
            <a:r>
              <a:rPr xmlns:mc="http://schemas.openxmlformats.org/markup-compatibility/2006" xmlns:hp="http://schemas.haansoft.com/office/presentation/8.0" kumimoji="0" lang="en-US" altLang="ko-KR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90</a:t>
            </a:r>
            <a:r>
              <a:rPr xmlns:mc="http://schemas.openxmlformats.org/markup-compatibility/2006" xmlns:hp="http://schemas.haansoft.com/office/presentation/8.0" kumimoji="0" lang="ko-KR" altLang="en-US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도</a:t>
            </a:r>
            <a:endParaRPr xmlns:mc="http://schemas.openxmlformats.org/markup-compatibility/2006" xmlns:hp="http://schemas.haansoft.com/office/presentation/8.0" kumimoji="0" lang="ko-KR" altLang="en-US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pic>
        <p:nvPicPr>
          <p:cNvPr id="526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6790766" y="1616776"/>
            <a:ext cx="3939319" cy="3315528"/>
          </a:xfrm>
          <a:prstGeom prst="rect">
            <a:avLst/>
          </a:prstGeom>
        </p:spPr>
      </p:pic>
      <p:pic>
        <p:nvPicPr>
          <p:cNvPr id="527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369055" y="1853616"/>
            <a:ext cx="4499778" cy="298343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9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Isosceles Triangle 499"/>
          <p:cNvSpPr/>
          <p:nvPr/>
        </p:nvSpPr>
        <p:spPr>
          <a:xfrm flipV="1">
            <a:off x="10257008" y="-4"/>
            <a:ext cx="1934991" cy="216353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99" name="Isosceles Triangle 498"/>
          <p:cNvSpPr/>
          <p:nvPr/>
        </p:nvSpPr>
        <p:spPr>
          <a:xfrm>
            <a:off x="7878851" y="2191146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09" name="Title 1"/>
          <p:cNvSpPr>
            <a:spLocks noGrp="1"/>
          </p:cNvSpPr>
          <p:nvPr/>
        </p:nvSpPr>
        <p:spPr>
          <a:xfrm>
            <a:off x="172322" y="5934799"/>
            <a:ext cx="11812354" cy="765805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/>
          </a:bodyPr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원대 지형중 다양한 경사면의 최대 각도 측정 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● 다양한 경사면의 수치를 토대로 착륙할수 있는 최대 각도 설정 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1" name="Title 1"/>
          <p:cNvSpPr>
            <a:spLocks noGrp="1"/>
          </p:cNvSpPr>
          <p:nvPr/>
        </p:nvSpPr>
        <p:spPr>
          <a:xfrm>
            <a:off x="333375" y="1095353"/>
            <a:ext cx="4965989" cy="389081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고려해야 할 변수 </a:t>
            </a:r>
            <a:r>
              <a:rPr xmlns:mc="http://schemas.openxmlformats.org/markup-compatibility/2006" xmlns:hp="http://schemas.haansoft.com/office/presentation/8.0" kumimoji="0" lang="en-US" altLang="ko-KR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 착륙가능한 최대 경사로</a:t>
            </a:r>
            <a:endParaRPr xmlns:mc="http://schemas.openxmlformats.org/markup-compatibility/2006" xmlns:hp="http://schemas.haansoft.com/office/presentation/8.0" kumimoji="0" lang="ko-KR" altLang="en-US" sz="15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pic>
        <p:nvPicPr>
          <p:cNvPr id="522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 rot="5400000">
            <a:off x="140230" y="1900165"/>
            <a:ext cx="3422585" cy="2875500"/>
          </a:xfrm>
          <a:prstGeom prst="rect">
            <a:avLst/>
          </a:prstGeom>
        </p:spPr>
      </p:pic>
      <p:pic>
        <p:nvPicPr>
          <p:cNvPr id="524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 rot="5400000">
            <a:off x="3868666" y="1823998"/>
            <a:ext cx="3372528" cy="2972233"/>
          </a:xfrm>
          <a:prstGeom prst="rect">
            <a:avLst/>
          </a:prstGeom>
        </p:spPr>
      </p:pic>
      <p:sp>
        <p:nvSpPr>
          <p:cNvPr id="525" name="Title 1"/>
          <p:cNvSpPr>
            <a:spLocks noGrp="1"/>
          </p:cNvSpPr>
          <p:nvPr/>
        </p:nvSpPr>
        <p:spPr>
          <a:xfrm>
            <a:off x="4473163" y="5149719"/>
            <a:ext cx="2140696" cy="712310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 lnSpcReduction="10000"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제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2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운동장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22 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도 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27" name="Title 1"/>
          <p:cNvSpPr>
            <a:spLocks noGrp="1"/>
          </p:cNvSpPr>
          <p:nvPr/>
        </p:nvSpPr>
        <p:spPr>
          <a:xfrm>
            <a:off x="728828" y="5179332"/>
            <a:ext cx="2140696" cy="630485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 lnSpcReduction="10000"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공대동쪽 경사로 </a:t>
            </a: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15 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도 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sp>
        <p:nvSpPr>
          <p:cNvPr id="530" name="Title 1"/>
          <p:cNvSpPr>
            <a:spLocks noGrp="1"/>
          </p:cNvSpPr>
          <p:nvPr/>
        </p:nvSpPr>
        <p:spPr>
          <a:xfrm>
            <a:off x="404813" y="450512"/>
            <a:ext cx="5691187" cy="930275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랜딩기어 스펙 설정</a:t>
            </a:r>
            <a:endParaRPr xmlns:mc="http://schemas.openxmlformats.org/markup-compatibility/2006" xmlns:hp="http://schemas.haansoft.com/office/presentation/8.0" kumimoji="0" lang="ko-KR" altLang="en-US" sz="44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  <p:pic>
        <p:nvPicPr>
          <p:cNvPr id="531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8440379" y="1669435"/>
            <a:ext cx="3077190" cy="3314290"/>
          </a:xfrm>
          <a:prstGeom prst="rect">
            <a:avLst/>
          </a:prstGeom>
        </p:spPr>
      </p:pic>
      <p:sp>
        <p:nvSpPr>
          <p:cNvPr id="532" name="Title 1"/>
          <p:cNvSpPr>
            <a:spLocks noGrp="1"/>
          </p:cNvSpPr>
          <p:nvPr/>
        </p:nvSpPr>
        <p:spPr>
          <a:xfrm>
            <a:off x="8804272" y="5107523"/>
            <a:ext cx="2140696" cy="712310"/>
          </a:xfrm>
          <a:prstGeom prst="rect">
            <a:avLst/>
          </a:prstGeom>
          <a:ln>
            <a:solidFill>
              <a:schemeClr val="dk1"/>
            </a:solidFill>
          </a:ln>
        </p:spPr>
        <p:txBody>
          <a:bodyPr vert="horz" lIns="91440" tIns="45720" rIns="91440" bIns="45720" anchor="ctr">
            <a:normAutofit lnSpcReduction="10000"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대운동장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en-US" altLang="ko-KR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28 </a:t>
            </a:r>
            <a:r>
              <a: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도 </a:t>
            </a:r>
            <a:endParaRPr xmlns:mc="http://schemas.openxmlformats.org/markup-compatibility/2006" xmlns:hp="http://schemas.haansoft.com/office/presentation/8.0" kumimoji="0" lang="ko-KR" altLang="en-US" sz="20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20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20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ppt/theme/theme2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20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20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ppt/theme/theme3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20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20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docProps/app.xml><?xml version="1.0" encoding="utf-8"?>
<ep:Properties xmlns:r="http://schemas.openxmlformats.org/officeDocument/2006/relationships" xmlns:ep="http://schemas.openxmlformats.org/officeDocument/2006/extended-properties" xmlns:vt="http://schemas.openxmlformats.org/officeDocument/2006/docPropsVTypes">
  <ep:Manager/>
  <ep:Company/>
  <ep:Words>453</ep:Words>
  <ep:PresentationFormat>와이드스크린</ep:PresentationFormat>
  <ep:Paragraphs>119</ep:Paragraphs>
  <ep:Slides>12</ep:Slides>
  <ep:Notes>26</ep:Notes>
  <ep:TotalTime>0</ep:TotalTime>
  <ep:HiddenSlides>0</ep:HiddenSlides>
  <ep:MMClips>0</ep:MMClips>
  <ep: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2</vt:i4>
      </vt:variant>
    </vt:vector>
  </ep:HeadingPairs>
  <ep:TitlesOfParts>
    <vt:vector size="13" baseType="lpstr">
      <vt:lpstr>Office Theme</vt:lpstr>
      <vt:lpstr>안정적인 착륙을 위한  드론 랜딩 기어</vt:lpstr>
      <vt:lpstr>드론 랜딩 기어의 필요성</vt:lpstr>
      <vt:lpstr>드론 랜딩 기어의 필요성</vt:lpstr>
      <vt:lpstr>슬라이드 4</vt:lpstr>
      <vt:lpstr>슬라이드 5</vt:lpstr>
      <vt:lpstr>슬라이드 6</vt:lpstr>
      <vt:lpstr>슬라이드 7</vt:lpstr>
      <vt:lpstr>슬라이드 8</vt:lpstr>
      <vt:lpstr>슬라이드 9</vt:lpstr>
      <vt:lpstr>슬라이드 10</vt:lpstr>
      <vt:lpstr>슬라이드 11</vt:lpstr>
      <vt:lpstr>슬라이드 12</vt:lpstr>
    </vt:vector>
  </ep:TitlesOfParts>
  <ep:HyperlinkBase/>
  <ep:Application>Show</ep:Application>
  <ep:AppVersion>12.0000</ep:AppVersion>
</ep:Properties>
</file>

<file path=docProps/core.xml><?xml version="1.0" encoding="utf-8"?>
<cp:coreProperties xmlns:r="http://schemas.openxmlformats.org/officeDocument/2006/relationships"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1-08-06T03:28:04.000</dcterms:created>
  <cp:lastModifiedBy>wnsdy</cp:lastModifiedBy>
  <dcterms:modified xsi:type="dcterms:W3CDTF">2022-04-13T06:19:09.385</dcterms:modified>
  <cp:revision>155</cp:revision>
  <cp:version>1000.0000.01</cp:version>
</cp:coreProperties>
</file>